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7"/>
  </p:notesMasterIdLst>
  <p:handoutMasterIdLst>
    <p:handoutMasterId r:id="rId8"/>
  </p:handoutMasterIdLst>
  <p:sldIdLst>
    <p:sldId id="1780" r:id="rId6"/>
  </p:sldIdLst>
  <p:sldSz cx="10691813" cy="7559675"/>
  <p:notesSz cx="6797675" cy="9926638"/>
  <p:custDataLst>
    <p:tags r:id="rId9"/>
  </p:custDataLst>
  <p:defaultTextStyle>
    <a:defPPr>
      <a:defRPr lang="en-US"/>
    </a:defPPr>
    <a:lvl1pPr algn="l" defTabSz="787400" rtl="0" eaLnBrk="0" fontAlgn="base" hangingPunct="0">
      <a:spcBef>
        <a:spcPct val="0"/>
      </a:spcBef>
      <a:spcAft>
        <a:spcPct val="0"/>
      </a:spcAft>
      <a:defRPr sz="15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393700" indent="63500" algn="l" defTabSz="787400" rtl="0" eaLnBrk="0" fontAlgn="base" hangingPunct="0">
      <a:spcBef>
        <a:spcPct val="0"/>
      </a:spcBef>
      <a:spcAft>
        <a:spcPct val="0"/>
      </a:spcAft>
      <a:defRPr sz="15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787400" indent="127000" algn="l" defTabSz="787400" rtl="0" eaLnBrk="0" fontAlgn="base" hangingPunct="0">
      <a:spcBef>
        <a:spcPct val="0"/>
      </a:spcBef>
      <a:spcAft>
        <a:spcPct val="0"/>
      </a:spcAft>
      <a:defRPr sz="15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181100" indent="190500" algn="l" defTabSz="787400" rtl="0" eaLnBrk="0" fontAlgn="base" hangingPunct="0">
      <a:spcBef>
        <a:spcPct val="0"/>
      </a:spcBef>
      <a:spcAft>
        <a:spcPct val="0"/>
      </a:spcAft>
      <a:defRPr sz="15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1574800" indent="254000" algn="l" defTabSz="787400" rtl="0" eaLnBrk="0" fontAlgn="base" hangingPunct="0">
      <a:spcBef>
        <a:spcPct val="0"/>
      </a:spcBef>
      <a:spcAft>
        <a:spcPct val="0"/>
      </a:spcAft>
      <a:defRPr sz="15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15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6pPr>
    <a:lvl7pPr marL="2743200" algn="l" defTabSz="914400" rtl="0" eaLnBrk="1" latinLnBrk="0" hangingPunct="1">
      <a:defRPr sz="15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7pPr>
    <a:lvl8pPr marL="3200400" algn="l" defTabSz="914400" rtl="0" eaLnBrk="1" latinLnBrk="0" hangingPunct="1">
      <a:defRPr sz="15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8pPr>
    <a:lvl9pPr marL="3657600" algn="l" defTabSz="914400" rtl="0" eaLnBrk="1" latinLnBrk="0" hangingPunct="1">
      <a:defRPr sz="15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2744" userDrawn="1">
          <p15:clr>
            <a:srgbClr val="A4A3A4"/>
          </p15:clr>
        </p15:guide>
        <p15:guide id="18" orient="horz" pos="4604" userDrawn="1">
          <p15:clr>
            <a:srgbClr val="A4A3A4"/>
          </p15:clr>
        </p15:guide>
        <p15:guide id="20" pos="1258" userDrawn="1">
          <p15:clr>
            <a:srgbClr val="A4A3A4"/>
          </p15:clr>
        </p15:guide>
        <p15:guide id="22" pos="4388" userDrawn="1">
          <p15:clr>
            <a:srgbClr val="A4A3A4"/>
          </p15:clr>
        </p15:guide>
        <p15:guide id="23" pos="2846" userDrawn="1">
          <p15:clr>
            <a:srgbClr val="A4A3A4"/>
          </p15:clr>
        </p15:guide>
        <p15:guide id="25" orient="horz" pos="4354" userDrawn="1">
          <p15:clr>
            <a:srgbClr val="A4A3A4"/>
          </p15:clr>
        </p15:guide>
        <p15:guide id="26" pos="3231" userDrawn="1">
          <p15:clr>
            <a:srgbClr val="A4A3A4"/>
          </p15:clr>
        </p15:guide>
        <p15:guide id="27" pos="1394" userDrawn="1">
          <p15:clr>
            <a:srgbClr val="A4A3A4"/>
          </p15:clr>
        </p15:guide>
        <p15:guide id="28" pos="170" userDrawn="1">
          <p15:clr>
            <a:srgbClr val="A4A3A4"/>
          </p15:clr>
        </p15:guide>
        <p15:guide id="29" pos="5477" userDrawn="1">
          <p15:clr>
            <a:srgbClr val="A4A3A4"/>
          </p15:clr>
        </p15:guide>
        <p15:guide id="30" orient="horz" pos="90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ovanna Della Posta" initials="GDP" lastIdx="1" clrIdx="0">
    <p:extLst>
      <p:ext uri="{19B8F6BF-5375-455C-9EA6-DF929625EA0E}">
        <p15:presenceInfo xmlns:p15="http://schemas.microsoft.com/office/powerpoint/2012/main" userId="S-1-5-21-766652887-201727854-3236432591-1626" providerId="AD"/>
      </p:ext>
    </p:extLst>
  </p:cmAuthor>
  <p:cmAuthor id="2" name="GDP" initials="GDP" lastIdx="1" clrIdx="1">
    <p:extLst>
      <p:ext uri="{19B8F6BF-5375-455C-9EA6-DF929625EA0E}">
        <p15:presenceInfo xmlns:p15="http://schemas.microsoft.com/office/powerpoint/2012/main" userId="GDP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2169"/>
    <a:srgbClr val="F8C3B2"/>
    <a:srgbClr val="DCE6F2"/>
    <a:srgbClr val="F2F2F2"/>
    <a:srgbClr val="003356"/>
    <a:srgbClr val="86BC25"/>
    <a:srgbClr val="A5B592"/>
    <a:srgbClr val="0A296E"/>
    <a:srgbClr val="7C86BA"/>
    <a:srgbClr val="809E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DBC9CF-EA2E-4F39-BD05-E4094D0155C7}" v="1" dt="2022-03-21T09:43:13.9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95" d="100"/>
          <a:sy n="95" d="100"/>
        </p:scale>
        <p:origin x="1602" y="90"/>
      </p:cViewPr>
      <p:guideLst>
        <p:guide orient="horz" pos="2744"/>
        <p:guide orient="horz" pos="4604"/>
        <p:guide pos="1258"/>
        <p:guide pos="4388"/>
        <p:guide pos="2846"/>
        <p:guide orient="horz" pos="4354"/>
        <p:guide pos="3231"/>
        <p:guide pos="1394"/>
        <p:guide pos="170"/>
        <p:guide pos="5477"/>
        <p:guide orient="horz" pos="90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bina Baruffaldi" userId="858b2a1d-5b25-47b8-8c84-6a61aa102e02" providerId="ADAL" clId="{C1DBC9CF-EA2E-4F39-BD05-E4094D0155C7}"/>
    <pc:docChg chg="modSld">
      <pc:chgData name="Sabina Baruffaldi" userId="858b2a1d-5b25-47b8-8c84-6a61aa102e02" providerId="ADAL" clId="{C1DBC9CF-EA2E-4F39-BD05-E4094D0155C7}" dt="2022-03-21T09:43:20.084" v="1" actId="14100"/>
      <pc:docMkLst>
        <pc:docMk/>
      </pc:docMkLst>
      <pc:sldChg chg="addSp modSp mod">
        <pc:chgData name="Sabina Baruffaldi" userId="858b2a1d-5b25-47b8-8c84-6a61aa102e02" providerId="ADAL" clId="{C1DBC9CF-EA2E-4F39-BD05-E4094D0155C7}" dt="2022-03-21T09:43:20.084" v="1" actId="14100"/>
        <pc:sldMkLst>
          <pc:docMk/>
          <pc:sldMk cId="1673521202" sldId="1780"/>
        </pc:sldMkLst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51" creationId="{5B9BDB37-B97D-43F1-9BA2-2FB2C03279E0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54" creationId="{AE948AD7-2C3F-40F9-9F0E-228EC439E6DC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55" creationId="{2157CE73-C590-4C1D-A464-314307412564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58" creationId="{72EFB56F-A048-4634-91D2-FE492E75712C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59" creationId="{543C3128-9C0D-42C1-B76B-10D36CF56AC4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60" creationId="{835408E1-4DBF-405D-9771-CC57710165C5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61" creationId="{2A68A433-7E64-40FB-90FA-EF76292CF2BE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64" creationId="{4A9340F7-EA71-4F03-B3AA-AF8638670145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66" creationId="{D9FC0CC8-F18E-4CFE-8A8A-6ED5E9EA0AB6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67" creationId="{939C4069-29C0-459A-9D01-38CD26339A3C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68" creationId="{62684F23-A779-42D1-9D90-358AFCB196ED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69" creationId="{05981EB5-D971-4F47-BC91-4734B173CBBB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71" creationId="{C9E6D331-919C-4B48-BB68-1F7DA93C0604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72" creationId="{044EFFFA-3174-481F-9009-5D56580F4C9B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73" creationId="{9D5C9F94-7D7C-46F0-85DD-0BB93FF68922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74" creationId="{3DEB6105-CB7A-4633-80C0-EAC981D5840E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75" creationId="{245B23B3-DAC1-42C0-9FE8-46F4CECC486E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81" creationId="{13EF583E-1667-48D8-94FE-EE5950B20180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82" creationId="{A70F547B-2E7B-411C-8E02-1CA1D50243ED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84" creationId="{43DF9571-5305-45DE-8DF6-C53B991E344A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85" creationId="{94E6CFA8-CFD1-48D5-8C02-AFC7E063C602}"/>
          </ac:spMkLst>
        </pc:spChg>
        <pc:spChg chg="mod">
          <ac:chgData name="Sabina Baruffaldi" userId="858b2a1d-5b25-47b8-8c84-6a61aa102e02" providerId="ADAL" clId="{C1DBC9CF-EA2E-4F39-BD05-E4094D0155C7}" dt="2022-03-21T09:43:13.986" v="0" actId="164"/>
          <ac:spMkLst>
            <pc:docMk/>
            <pc:sldMk cId="1673521202" sldId="1780"/>
            <ac:spMk id="87" creationId="{9AFB1589-C5CF-4A5E-82AD-14B7C83FC3CC}"/>
          </ac:spMkLst>
        </pc:spChg>
        <pc:grpChg chg="add mod">
          <ac:chgData name="Sabina Baruffaldi" userId="858b2a1d-5b25-47b8-8c84-6a61aa102e02" providerId="ADAL" clId="{C1DBC9CF-EA2E-4F39-BD05-E4094D0155C7}" dt="2022-03-21T09:43:20.084" v="1" actId="14100"/>
          <ac:grpSpMkLst>
            <pc:docMk/>
            <pc:sldMk cId="1673521202" sldId="1780"/>
            <ac:grpSpMk id="2" creationId="{3FC3DD8E-C75F-4557-8464-26CB8687A0CE}"/>
          </ac:grpSpMkLst>
        </pc:grp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44" creationId="{8A552743-3E2E-43BF-B75E-E1619A10006B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47" creationId="{9E34B5A3-990E-4E83-A92E-0FDDAEB5A4B3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48" creationId="{B4DACBB3-E084-4EBC-B07B-AE72E2FE58A2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50" creationId="{6EF7127F-0BCD-4205-BF45-2A6171860426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52" creationId="{B51C252E-D9BB-4D3F-8FFC-D61975BC79B8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53" creationId="{07A582ED-FA3B-481C-A3E1-F884C47B38B3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56" creationId="{818E2CAF-CC66-4CCE-AE61-298FC741E23E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57" creationId="{68ACA771-3B9F-47E0-9FA3-D3A799CBF613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62" creationId="{CB99C0E5-6218-4D07-8584-1CF89636E639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63" creationId="{75A2AFD3-6F87-4962-8C81-247DD4D35A49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65" creationId="{654D585E-E256-4F4F-93C4-727251095163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70" creationId="{88E2AFE0-176E-4434-AE81-46C166A9EA2C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77" creationId="{2BFA7C62-D467-4ECB-8D66-99DD200EE73A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78" creationId="{5E1FAC84-D019-4052-A0A0-A5A100ACBE17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83" creationId="{EB3C000B-EBDE-4957-96EC-0CD1BC4869D8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86" creationId="{955EA0F2-9390-4BB5-BC14-8A2FFB87FB40}"/>
          </ac:cxnSpMkLst>
        </pc:cxnChg>
        <pc:cxnChg chg="mod">
          <ac:chgData name="Sabina Baruffaldi" userId="858b2a1d-5b25-47b8-8c84-6a61aa102e02" providerId="ADAL" clId="{C1DBC9CF-EA2E-4F39-BD05-E4094D0155C7}" dt="2022-03-21T09:43:13.986" v="0" actId="164"/>
          <ac:cxnSpMkLst>
            <pc:docMk/>
            <pc:sldMk cId="1673521202" sldId="1780"/>
            <ac:cxnSpMk id="88" creationId="{97E4AA84-E6CF-42DC-B1EC-581BC1C7BE59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6400" cy="495221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 defTabSz="787481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3"/>
            <a:ext cx="2946400" cy="495221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 defTabSz="787481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596291F-0E49-4304-8DFA-91BD4063A614}" type="datetimeFigureOut">
              <a:rPr lang="en-US"/>
              <a:pPr>
                <a:defRPr/>
              </a:pPr>
              <a:t>11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830"/>
            <a:ext cx="2946400" cy="495221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 defTabSz="787481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830"/>
            <a:ext cx="2946400" cy="495221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 defTabSz="787481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0901779-372A-4252-A7CE-7172F4DC835C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3705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6400" cy="495221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 defTabSz="78748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3"/>
            <a:ext cx="2946400" cy="495221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 defTabSz="78748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7D21A51-73D8-4E40-B206-888D2B3225E3}" type="datetimeFigureOut">
              <a:rPr lang="en-GB" smtClean="0"/>
              <a:pPr>
                <a:defRPr/>
              </a:pPr>
              <a:t>20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7" y="4715715"/>
            <a:ext cx="5438775" cy="4466511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830"/>
            <a:ext cx="2946400" cy="495221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 defTabSz="78748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830"/>
            <a:ext cx="2946400" cy="495221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 defTabSz="787481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49C25D4-1A6B-4502-83B6-36ECEE36621B}" type="slidenum">
              <a:rPr lang="en-GB" smtClean="0"/>
              <a:pPr>
                <a:defRPr/>
              </a:pPr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188418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787400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93700" algn="l" defTabSz="787400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787400" algn="l" defTabSz="787400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181100" algn="l" defTabSz="787400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574800" algn="l" defTabSz="787400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968703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6pPr>
    <a:lvl7pPr marL="236244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7pPr>
    <a:lvl8pPr marL="2756184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8pPr>
    <a:lvl9pPr marL="3149925" algn="l" defTabSz="787481" rtl="0" eaLnBrk="1" latinLnBrk="0" hangingPunct="1">
      <a:defRPr sz="10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intestazion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49C25D4-1A6B-4502-83B6-36ECEE36621B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019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ag semplic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EAD0D6FD-508F-4348-B22E-E944903C52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8593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EAD0D6FD-508F-4348-B22E-E944903C52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egnaposto testo 6"/>
          <p:cNvSpPr>
            <a:spLocks noGrp="1"/>
          </p:cNvSpPr>
          <p:nvPr>
            <p:ph type="body" sz="quarter" idx="11" hasCustomPrompt="1"/>
          </p:nvPr>
        </p:nvSpPr>
        <p:spPr>
          <a:xfrm>
            <a:off x="378292" y="1023706"/>
            <a:ext cx="10023575" cy="5039798"/>
          </a:xfrm>
        </p:spPr>
        <p:txBody>
          <a:bodyPr anchor="ctr">
            <a:normAutofit/>
          </a:bodyPr>
          <a:lstStyle>
            <a:lvl1pPr marL="0" indent="0" algn="just">
              <a:spcBef>
                <a:spcPts val="0"/>
              </a:spcBef>
              <a:buNone/>
              <a:defRPr sz="1764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0" indent="0" algn="just">
              <a:spcBef>
                <a:spcPts val="0"/>
              </a:spcBef>
              <a:buNone/>
              <a:defRPr sz="2205">
                <a:solidFill>
                  <a:schemeClr val="bg1"/>
                </a:solidFill>
                <a:latin typeface="Franklin Gothic Medium Cond" pitchFamily="34" charset="0"/>
              </a:defRPr>
            </a:lvl2pPr>
            <a:lvl3pPr marL="0" indent="0" algn="just">
              <a:spcBef>
                <a:spcPts val="0"/>
              </a:spcBef>
              <a:buNone/>
              <a:defRPr sz="2205">
                <a:solidFill>
                  <a:schemeClr val="bg1"/>
                </a:solidFill>
                <a:latin typeface="Franklin Gothic Medium Cond" pitchFamily="34" charset="0"/>
              </a:defRPr>
            </a:lvl3pPr>
            <a:lvl4pPr marL="0" indent="0" algn="just">
              <a:spcBef>
                <a:spcPts val="0"/>
              </a:spcBef>
              <a:buNone/>
              <a:defRPr sz="2205">
                <a:solidFill>
                  <a:schemeClr val="bg1"/>
                </a:solidFill>
                <a:latin typeface="Franklin Gothic Medium Cond" pitchFamily="34" charset="0"/>
              </a:defRPr>
            </a:lvl4pPr>
            <a:lvl5pPr marL="0" indent="0" algn="just">
              <a:spcBef>
                <a:spcPts val="0"/>
              </a:spcBef>
              <a:buNone/>
              <a:defRPr sz="2205">
                <a:solidFill>
                  <a:schemeClr val="bg1"/>
                </a:solidFill>
                <a:latin typeface="Franklin Gothic Medium Cond" pitchFamily="34" charset="0"/>
              </a:defRPr>
            </a:lvl5pPr>
          </a:lstStyle>
          <a:p>
            <a:pPr lvl="0"/>
            <a:r>
              <a:rPr lang="en-GB"/>
              <a:t>Fare </a:t>
            </a:r>
            <a:r>
              <a:rPr lang="en-GB" err="1"/>
              <a:t>clic</a:t>
            </a:r>
            <a:r>
              <a:rPr lang="en-GB"/>
              <a:t> per </a:t>
            </a:r>
            <a:r>
              <a:rPr lang="en-GB" err="1"/>
              <a:t>inserire</a:t>
            </a:r>
            <a:r>
              <a:rPr lang="en-GB"/>
              <a:t> </a:t>
            </a:r>
            <a:r>
              <a:rPr lang="en-GB" err="1"/>
              <a:t>testi</a:t>
            </a:r>
            <a:endParaRPr lang="en-GB"/>
          </a:p>
        </p:txBody>
      </p:sp>
      <p:sp>
        <p:nvSpPr>
          <p:cNvPr id="8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378292" y="207941"/>
            <a:ext cx="10023575" cy="396877"/>
          </a:xfrm>
        </p:spPr>
        <p:txBody>
          <a:bodyPr anchor="ctr">
            <a:noAutofit/>
          </a:bodyPr>
          <a:lstStyle>
            <a:lvl1pPr marL="0" indent="0" algn="just">
              <a:spcBef>
                <a:spcPts val="0"/>
              </a:spcBef>
              <a:buNone/>
              <a:defRPr sz="2205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 algn="just">
              <a:spcBef>
                <a:spcPts val="0"/>
              </a:spcBef>
              <a:buNone/>
              <a:defRPr sz="2205">
                <a:solidFill>
                  <a:schemeClr val="bg1"/>
                </a:solidFill>
                <a:latin typeface="Franklin Gothic Medium Cond" pitchFamily="34" charset="0"/>
              </a:defRPr>
            </a:lvl2pPr>
            <a:lvl3pPr marL="0" indent="0" algn="just">
              <a:spcBef>
                <a:spcPts val="0"/>
              </a:spcBef>
              <a:buNone/>
              <a:defRPr sz="2205">
                <a:solidFill>
                  <a:schemeClr val="bg1"/>
                </a:solidFill>
                <a:latin typeface="Franklin Gothic Medium Cond" pitchFamily="34" charset="0"/>
              </a:defRPr>
            </a:lvl3pPr>
            <a:lvl4pPr marL="0" indent="0" algn="just">
              <a:spcBef>
                <a:spcPts val="0"/>
              </a:spcBef>
              <a:buNone/>
              <a:defRPr sz="2205">
                <a:solidFill>
                  <a:schemeClr val="bg1"/>
                </a:solidFill>
                <a:latin typeface="Franklin Gothic Medium Cond" pitchFamily="34" charset="0"/>
              </a:defRPr>
            </a:lvl4pPr>
            <a:lvl5pPr marL="0" indent="0" algn="just">
              <a:spcBef>
                <a:spcPts val="0"/>
              </a:spcBef>
              <a:buNone/>
              <a:defRPr sz="2205">
                <a:solidFill>
                  <a:schemeClr val="bg1"/>
                </a:solidFill>
                <a:latin typeface="Franklin Gothic Medium Cond" pitchFamily="34" charset="0"/>
              </a:defRPr>
            </a:lvl5pPr>
          </a:lstStyle>
          <a:p>
            <a:pPr lvl="0"/>
            <a:r>
              <a:rPr lang="en-GB"/>
              <a:t>Fare </a:t>
            </a:r>
            <a:r>
              <a:rPr lang="en-GB" err="1"/>
              <a:t>clic</a:t>
            </a:r>
            <a:r>
              <a:rPr lang="en-GB"/>
              <a:t> per </a:t>
            </a:r>
            <a:r>
              <a:rPr lang="en-GB" err="1"/>
              <a:t>inserire</a:t>
            </a:r>
            <a:r>
              <a:rPr lang="en-GB"/>
              <a:t> </a:t>
            </a:r>
            <a:r>
              <a:rPr lang="en-GB" err="1"/>
              <a:t>titolo</a:t>
            </a:r>
            <a:r>
              <a:rPr lang="en-GB"/>
              <a:t> slide</a:t>
            </a:r>
          </a:p>
        </p:txBody>
      </p:sp>
      <p:sp>
        <p:nvSpPr>
          <p:cNvPr id="9" name="Segnaposto numero diapositiva 5"/>
          <p:cNvSpPr txBox="1">
            <a:spLocks/>
          </p:cNvSpPr>
          <p:nvPr userDrawn="1"/>
        </p:nvSpPr>
        <p:spPr>
          <a:xfrm>
            <a:off x="8000530" y="7034232"/>
            <a:ext cx="2494756" cy="402483"/>
          </a:xfrm>
          <a:prstGeom prst="rect">
            <a:avLst/>
          </a:prstGeom>
        </p:spPr>
        <p:txBody>
          <a:bodyPr vert="horz" lIns="100796" tIns="50398" rIns="100796" bIns="50398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C400C5-C380-4A92-ACC0-F3AD92D5DA78}" type="slidenum">
              <a:rPr lang="en-GB" sz="1323" smtClean="0">
                <a:solidFill>
                  <a:schemeClr val="tx1"/>
                </a:solidFill>
              </a:rPr>
              <a:pPr/>
              <a:t>‹N›</a:t>
            </a:fld>
            <a:endParaRPr lang="en-GB" sz="1323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33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772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441950" y="7138988"/>
            <a:ext cx="4294188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704">
                <a:latin typeface="+mn-lt"/>
              </a:rPr>
              <a:t>Presentation title</a:t>
            </a:r>
            <a:br>
              <a:rPr lang="en-GB" sz="704">
                <a:latin typeface="+mn-lt"/>
              </a:rPr>
            </a:br>
            <a:r>
              <a:rPr lang="en-GB" sz="704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704">
                <a:latin typeface="+mn-lt"/>
              </a:rPr>
              <a:t>Member firms and DTTL: Insert appropriate copyright</a:t>
            </a:r>
            <a:br>
              <a:rPr lang="en-GB" sz="704">
                <a:latin typeface="+mn-lt"/>
              </a:rPr>
            </a:br>
            <a:r>
              <a:rPr lang="en-GB" sz="704">
                <a:latin typeface="+mn-lt"/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9986963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endParaRPr lang="en-GB" sz="704">
              <a:latin typeface="+mn-lt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33388" y="1881188"/>
            <a:ext cx="4827587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5435600" y="1874838"/>
            <a:ext cx="4827588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431800" y="4481513"/>
            <a:ext cx="4827588" cy="58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5448300" y="4481513"/>
            <a:ext cx="4827588" cy="58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49987"/>
            <a:ext cx="9823391" cy="368284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33388" y="2072587"/>
            <a:ext cx="1703488" cy="1627016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5458231" y="2072587"/>
            <a:ext cx="1725844" cy="1627016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33388" y="4691687"/>
            <a:ext cx="1703489" cy="1627016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5458231" y="4691687"/>
            <a:ext cx="1725844" cy="1627016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53289" y="2072587"/>
            <a:ext cx="2883422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7363391" y="2072587"/>
            <a:ext cx="2899808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353289" y="4691687"/>
            <a:ext cx="2883422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7363391" y="4691687"/>
            <a:ext cx="2893447" cy="21429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27" name="TextBox 5">
            <a:extLst>
              <a:ext uri="{FF2B5EF4-FFF2-40B4-BE49-F238E27FC236}">
                <a16:creationId xmlns:a16="http://schemas.microsoft.com/office/drawing/2014/main" id="{0FA1449F-1B4F-4E7F-84BC-B3D7C63C7559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F2A61010-DCC6-4A92-9738-033F18CD7EF5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29" name="Rectangle">
            <a:extLst>
              <a:ext uri="{FF2B5EF4-FFF2-40B4-BE49-F238E27FC236}">
                <a16:creationId xmlns:a16="http://schemas.microsoft.com/office/drawing/2014/main" id="{5E385F48-2482-47E4-B6F7-9D79125ED100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30" name="invimit_logo_white.png" descr="invimit_logo_white.png">
            <a:extLst>
              <a:ext uri="{FF2B5EF4-FFF2-40B4-BE49-F238E27FC236}">
                <a16:creationId xmlns:a16="http://schemas.microsoft.com/office/drawing/2014/main" id="{F434C6AA-0D81-4406-8CDF-2D638322197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1" name="Group">
            <a:extLst>
              <a:ext uri="{FF2B5EF4-FFF2-40B4-BE49-F238E27FC236}">
                <a16:creationId xmlns:a16="http://schemas.microsoft.com/office/drawing/2014/main" id="{0C1166B3-4EB4-4ED2-8F40-859077A7A239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32" name="Line">
              <a:extLst>
                <a:ext uri="{FF2B5EF4-FFF2-40B4-BE49-F238E27FC236}">
                  <a16:creationId xmlns:a16="http://schemas.microsoft.com/office/drawing/2014/main" id="{42CE46EA-34E8-4FDB-96C6-9918D6D8C6DD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33" name="Line">
              <a:extLst>
                <a:ext uri="{FF2B5EF4-FFF2-40B4-BE49-F238E27FC236}">
                  <a16:creationId xmlns:a16="http://schemas.microsoft.com/office/drawing/2014/main" id="{618A46CD-8C2E-4FC6-8B00-81567F8B23DE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34" name="Line">
              <a:extLst>
                <a:ext uri="{FF2B5EF4-FFF2-40B4-BE49-F238E27FC236}">
                  <a16:creationId xmlns:a16="http://schemas.microsoft.com/office/drawing/2014/main" id="{59721100-9EF2-4B05-A9F7-C102CAC6C5A1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35" name="Connettore diritto 34">
            <a:extLst>
              <a:ext uri="{FF2B5EF4-FFF2-40B4-BE49-F238E27FC236}">
                <a16:creationId xmlns:a16="http://schemas.microsoft.com/office/drawing/2014/main" id="{9D8EC3F0-B313-440A-8614-03CC1A6A2D6F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">
            <a:extLst>
              <a:ext uri="{FF2B5EF4-FFF2-40B4-BE49-F238E27FC236}">
                <a16:creationId xmlns:a16="http://schemas.microsoft.com/office/drawing/2014/main" id="{AFA07044-E3B8-4DE9-92DE-E0446C4453A3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37" name="invimit_logo_white.png" descr="invimit_logo_white.png">
            <a:extLst>
              <a:ext uri="{FF2B5EF4-FFF2-40B4-BE49-F238E27FC236}">
                <a16:creationId xmlns:a16="http://schemas.microsoft.com/office/drawing/2014/main" id="{61E567D1-C9DE-48B1-A4AA-0DF6282B6FC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38" name="TextBox 13">
            <a:extLst>
              <a:ext uri="{FF2B5EF4-FFF2-40B4-BE49-F238E27FC236}">
                <a16:creationId xmlns:a16="http://schemas.microsoft.com/office/drawing/2014/main" id="{79E5248C-3CAB-4A64-8C49-3D3F18AB2298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39" name="TextBox 9">
            <a:extLst>
              <a:ext uri="{FF2B5EF4-FFF2-40B4-BE49-F238E27FC236}">
                <a16:creationId xmlns:a16="http://schemas.microsoft.com/office/drawing/2014/main" id="{3D0C413E-6584-4F10-AAC8-E474892039E4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0" name="Immagine 39">
            <a:extLst>
              <a:ext uri="{FF2B5EF4-FFF2-40B4-BE49-F238E27FC236}">
                <a16:creationId xmlns:a16="http://schemas.microsoft.com/office/drawing/2014/main" id="{3E749D70-2DD4-47F6-BFA0-90C81B9BC0C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72046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1E89BE5F-B322-4658-8550-E4136CF46A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138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1E89BE5F-B322-4658-8550-E4136CF46A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2B441EF4-7202-413E-8E3B-C7BBDA6B6C1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444" y="349992"/>
            <a:ext cx="9823391" cy="368278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41943" y="1874173"/>
            <a:ext cx="3205601" cy="2173406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057708" y="1874173"/>
            <a:ext cx="3205601" cy="2173406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749826" y="1874176"/>
            <a:ext cx="3205601" cy="2173406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441944" y="4224319"/>
            <a:ext cx="3205601" cy="230957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3749826" y="4224319"/>
            <a:ext cx="3205601" cy="230957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7057708" y="4224319"/>
            <a:ext cx="3205601" cy="230957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5" name="TextBox 5">
            <a:extLst>
              <a:ext uri="{FF2B5EF4-FFF2-40B4-BE49-F238E27FC236}">
                <a16:creationId xmlns:a16="http://schemas.microsoft.com/office/drawing/2014/main" id="{E010F99B-2E67-4CDE-AAE7-D1D879F614B9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3E76B053-8459-4B6F-95F2-F2E6668D8684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7" name="Rectangle">
            <a:extLst>
              <a:ext uri="{FF2B5EF4-FFF2-40B4-BE49-F238E27FC236}">
                <a16:creationId xmlns:a16="http://schemas.microsoft.com/office/drawing/2014/main" id="{E626212A-25ED-415C-91EB-7A9C5F380ADD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8" name="invimit_logo_white.png" descr="invimit_logo_white.png">
            <a:extLst>
              <a:ext uri="{FF2B5EF4-FFF2-40B4-BE49-F238E27FC236}">
                <a16:creationId xmlns:a16="http://schemas.microsoft.com/office/drawing/2014/main" id="{D18959E8-CA74-4C1A-89B9-29D547F3198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9" name="Group">
            <a:extLst>
              <a:ext uri="{FF2B5EF4-FFF2-40B4-BE49-F238E27FC236}">
                <a16:creationId xmlns:a16="http://schemas.microsoft.com/office/drawing/2014/main" id="{5A2ED0D3-2EF5-4162-AAFE-3118CB6C85C9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20" name="Line">
              <a:extLst>
                <a:ext uri="{FF2B5EF4-FFF2-40B4-BE49-F238E27FC236}">
                  <a16:creationId xmlns:a16="http://schemas.microsoft.com/office/drawing/2014/main" id="{32C5485A-24DC-4FCD-B868-19CB49E83EDC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1" name="Line">
              <a:extLst>
                <a:ext uri="{FF2B5EF4-FFF2-40B4-BE49-F238E27FC236}">
                  <a16:creationId xmlns:a16="http://schemas.microsoft.com/office/drawing/2014/main" id="{D21EC8F9-0220-4F8E-B758-157CF65382CF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2" name="Line">
              <a:extLst>
                <a:ext uri="{FF2B5EF4-FFF2-40B4-BE49-F238E27FC236}">
                  <a16:creationId xmlns:a16="http://schemas.microsoft.com/office/drawing/2014/main" id="{4173CB7E-6BE7-4226-8973-33C980F9DB3C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66D7C037-2B3A-4400-A1D9-4A292E45EBF5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">
            <a:extLst>
              <a:ext uri="{FF2B5EF4-FFF2-40B4-BE49-F238E27FC236}">
                <a16:creationId xmlns:a16="http://schemas.microsoft.com/office/drawing/2014/main" id="{8B65CC6F-9F1F-4CE1-B228-5F6787F30AA9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5" name="invimit_logo_white.png" descr="invimit_logo_white.png">
            <a:extLst>
              <a:ext uri="{FF2B5EF4-FFF2-40B4-BE49-F238E27FC236}">
                <a16:creationId xmlns:a16="http://schemas.microsoft.com/office/drawing/2014/main" id="{166A014A-C230-4C66-8944-45F844C7680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extBox 13">
            <a:extLst>
              <a:ext uri="{FF2B5EF4-FFF2-40B4-BE49-F238E27FC236}">
                <a16:creationId xmlns:a16="http://schemas.microsoft.com/office/drawing/2014/main" id="{4F22CD6C-0A96-43D9-A68A-E219B0E7F079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27" name="TextBox 9">
            <a:extLst>
              <a:ext uri="{FF2B5EF4-FFF2-40B4-BE49-F238E27FC236}">
                <a16:creationId xmlns:a16="http://schemas.microsoft.com/office/drawing/2014/main" id="{3EC7AF5C-59A2-4800-838E-E6D5113C3FD3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D1E4E92A-5F34-403D-A3E2-6D50A75E9EA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6686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5E6812B-3C61-429F-A3B0-8FD101E63F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2109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5E6812B-3C61-429F-A3B0-8FD101E63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D1CC24A0-6DAD-41C4-962D-6589B4E91E4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8347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33388" y="349989"/>
            <a:ext cx="9823450" cy="36828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CD58E8-75F9-4072-B9EA-1B27A550F572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171C57FE-89F5-4F1F-A59C-500141FFFA83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667904B0-DEDB-40A1-9D0F-E40D8BA98B8E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9" name="invimit_logo_white.png" descr="invimit_logo_white.png">
            <a:extLst>
              <a:ext uri="{FF2B5EF4-FFF2-40B4-BE49-F238E27FC236}">
                <a16:creationId xmlns:a16="http://schemas.microsoft.com/office/drawing/2014/main" id="{3BAC41FA-E736-4167-A146-00E9E31F318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2" name="Group">
            <a:extLst>
              <a:ext uri="{FF2B5EF4-FFF2-40B4-BE49-F238E27FC236}">
                <a16:creationId xmlns:a16="http://schemas.microsoft.com/office/drawing/2014/main" id="{57283CB7-01C5-4A72-B6CE-616371B5CE8E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13" name="Line">
              <a:extLst>
                <a:ext uri="{FF2B5EF4-FFF2-40B4-BE49-F238E27FC236}">
                  <a16:creationId xmlns:a16="http://schemas.microsoft.com/office/drawing/2014/main" id="{B4A6FCEA-B204-4A4C-9813-848A01C06CD2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4" name="Line">
              <a:extLst>
                <a:ext uri="{FF2B5EF4-FFF2-40B4-BE49-F238E27FC236}">
                  <a16:creationId xmlns:a16="http://schemas.microsoft.com/office/drawing/2014/main" id="{86221DAE-C00B-48D8-B9C9-6B2D2D017877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5" name="Line">
              <a:extLst>
                <a:ext uri="{FF2B5EF4-FFF2-40B4-BE49-F238E27FC236}">
                  <a16:creationId xmlns:a16="http://schemas.microsoft.com/office/drawing/2014/main" id="{87C4BD3A-1979-40AC-BA38-DA40194C6CF8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30BBA6CB-BBB7-40A6-B1EE-B3D018E3F16A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">
            <a:extLst>
              <a:ext uri="{FF2B5EF4-FFF2-40B4-BE49-F238E27FC236}">
                <a16:creationId xmlns:a16="http://schemas.microsoft.com/office/drawing/2014/main" id="{A375F360-B0AF-48EA-BD61-F987E06A4D23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8" name="invimit_logo_white.png" descr="invimit_logo_white.png">
            <a:extLst>
              <a:ext uri="{FF2B5EF4-FFF2-40B4-BE49-F238E27FC236}">
                <a16:creationId xmlns:a16="http://schemas.microsoft.com/office/drawing/2014/main" id="{CBC1FE13-694A-4752-9A51-BB2B6A375D7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extBox 13">
            <a:extLst>
              <a:ext uri="{FF2B5EF4-FFF2-40B4-BE49-F238E27FC236}">
                <a16:creationId xmlns:a16="http://schemas.microsoft.com/office/drawing/2014/main" id="{D082656A-6BF3-486D-9053-087FEEB8D4A0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20" name="TextBox 9">
            <a:extLst>
              <a:ext uri="{FF2B5EF4-FFF2-40B4-BE49-F238E27FC236}">
                <a16:creationId xmlns:a16="http://schemas.microsoft.com/office/drawing/2014/main" id="{2AAC5D4E-A33A-4F32-AF34-D6DAD979F970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1" name="Immagine 20">
            <a:extLst>
              <a:ext uri="{FF2B5EF4-FFF2-40B4-BE49-F238E27FC236}">
                <a16:creationId xmlns:a16="http://schemas.microsoft.com/office/drawing/2014/main" id="{006421B8-E9AB-4277-A429-07783940CD9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15376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494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704">
                <a:latin typeface="+mn-lt"/>
              </a:rPr>
              <a:t>Member firms and DTTL: Insert appropriate copyright</a:t>
            </a:r>
            <a:br>
              <a:rPr lang="en-GB" sz="704">
                <a:latin typeface="+mn-lt"/>
              </a:rPr>
            </a:br>
            <a:r>
              <a:rPr lang="en-GB" sz="704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431800" y="1879600"/>
            <a:ext cx="4827588" cy="58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1083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5441950" y="1879600"/>
            <a:ext cx="4827588" cy="58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1083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8299" y="2047982"/>
            <a:ext cx="4811558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441862" y="2047982"/>
            <a:ext cx="4814976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9" y="349992"/>
            <a:ext cx="9823450" cy="368278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4187571" y="2054627"/>
            <a:ext cx="1056346" cy="605474"/>
          </a:xfrm>
        </p:spPr>
        <p:txBody>
          <a:bodyPr rtlCol="0">
            <a:noAutofit/>
          </a:bodyPr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/>
          </p:nvPr>
        </p:nvSpPr>
        <p:spPr>
          <a:xfrm>
            <a:off x="9133733" y="2047988"/>
            <a:ext cx="1093272" cy="605474"/>
          </a:xfrm>
        </p:spPr>
        <p:txBody>
          <a:bodyPr rtlCol="0">
            <a:noAutofit/>
          </a:bodyPr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9" name="TextBox 5">
            <a:extLst>
              <a:ext uri="{FF2B5EF4-FFF2-40B4-BE49-F238E27FC236}">
                <a16:creationId xmlns:a16="http://schemas.microsoft.com/office/drawing/2014/main" id="{3C4E3E32-C47D-48DA-B4AB-3B52DAEE2C3D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20" name="TextBox 8">
            <a:extLst>
              <a:ext uri="{FF2B5EF4-FFF2-40B4-BE49-F238E27FC236}">
                <a16:creationId xmlns:a16="http://schemas.microsoft.com/office/drawing/2014/main" id="{10A1DDEE-A16C-4373-84F7-B1F9A7CACFB1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21" name="Rectangle">
            <a:extLst>
              <a:ext uri="{FF2B5EF4-FFF2-40B4-BE49-F238E27FC236}">
                <a16:creationId xmlns:a16="http://schemas.microsoft.com/office/drawing/2014/main" id="{BAC5B19C-A6E3-4CC3-A646-2C4F34EEF627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2" name="invimit_logo_white.png" descr="invimit_logo_white.png">
            <a:extLst>
              <a:ext uri="{FF2B5EF4-FFF2-40B4-BE49-F238E27FC236}">
                <a16:creationId xmlns:a16="http://schemas.microsoft.com/office/drawing/2014/main" id="{BF8E868B-6DDB-40CB-9219-3E5671EC599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3" name="Group">
            <a:extLst>
              <a:ext uri="{FF2B5EF4-FFF2-40B4-BE49-F238E27FC236}">
                <a16:creationId xmlns:a16="http://schemas.microsoft.com/office/drawing/2014/main" id="{243A2ED9-6ABB-4B25-94A4-290E11C2E9F8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24" name="Line">
              <a:extLst>
                <a:ext uri="{FF2B5EF4-FFF2-40B4-BE49-F238E27FC236}">
                  <a16:creationId xmlns:a16="http://schemas.microsoft.com/office/drawing/2014/main" id="{CFCB27D9-02BD-4173-98C9-7BDA45FF41B5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5" name="Line">
              <a:extLst>
                <a:ext uri="{FF2B5EF4-FFF2-40B4-BE49-F238E27FC236}">
                  <a16:creationId xmlns:a16="http://schemas.microsoft.com/office/drawing/2014/main" id="{B718D15C-849A-4E30-AC6C-437B5119FA3A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6" name="Line">
              <a:extLst>
                <a:ext uri="{FF2B5EF4-FFF2-40B4-BE49-F238E27FC236}">
                  <a16:creationId xmlns:a16="http://schemas.microsoft.com/office/drawing/2014/main" id="{69C6F85B-2D2D-4B3D-BAB7-18E19FC51DC8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7" name="Connettore diritto 26">
            <a:extLst>
              <a:ext uri="{FF2B5EF4-FFF2-40B4-BE49-F238E27FC236}">
                <a16:creationId xmlns:a16="http://schemas.microsoft.com/office/drawing/2014/main" id="{7508C1F1-DF94-4A2C-A483-F871A183C32C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">
            <a:extLst>
              <a:ext uri="{FF2B5EF4-FFF2-40B4-BE49-F238E27FC236}">
                <a16:creationId xmlns:a16="http://schemas.microsoft.com/office/drawing/2014/main" id="{7B67774B-56DE-47F4-B2E9-45BD68D7BB0C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9" name="invimit_logo_white.png" descr="invimit_logo_white.png">
            <a:extLst>
              <a:ext uri="{FF2B5EF4-FFF2-40B4-BE49-F238E27FC236}">
                <a16:creationId xmlns:a16="http://schemas.microsoft.com/office/drawing/2014/main" id="{713AE9C1-5BE3-444E-AFD7-0E5D2CBE43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TextBox 13">
            <a:extLst>
              <a:ext uri="{FF2B5EF4-FFF2-40B4-BE49-F238E27FC236}">
                <a16:creationId xmlns:a16="http://schemas.microsoft.com/office/drawing/2014/main" id="{4826584C-EA79-40B2-8D62-544D53598D7C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pic>
        <p:nvPicPr>
          <p:cNvPr id="31" name="Immagine 30">
            <a:extLst>
              <a:ext uri="{FF2B5EF4-FFF2-40B4-BE49-F238E27FC236}">
                <a16:creationId xmlns:a16="http://schemas.microsoft.com/office/drawing/2014/main" id="{F018A199-882D-48CB-A248-4535FA334B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13513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3109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704">
                <a:latin typeface="+mn-lt"/>
              </a:rPr>
              <a:t>Member firms and DTTL: Insert appropriate copyright</a:t>
            </a:r>
            <a:br>
              <a:rPr lang="en-GB" sz="704">
                <a:latin typeface="+mn-lt"/>
              </a:rPr>
            </a:br>
            <a:r>
              <a:rPr lang="en-GB" sz="704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431800" y="1879600"/>
            <a:ext cx="4827588" cy="58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1083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5441950" y="1879600"/>
            <a:ext cx="4827588" cy="58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1083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439738" y="4422775"/>
            <a:ext cx="4827587" cy="58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1083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5449888" y="4422775"/>
            <a:ext cx="4827587" cy="58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1083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8299" y="2047982"/>
            <a:ext cx="4811558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441862" y="2047982"/>
            <a:ext cx="4814976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33389" y="349992"/>
            <a:ext cx="9823450" cy="368278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3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4187571" y="2054627"/>
            <a:ext cx="1056346" cy="605474"/>
          </a:xfrm>
        </p:spPr>
        <p:txBody>
          <a:bodyPr rtlCol="0">
            <a:noAutofit/>
          </a:bodyPr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24" name="Picture Placeholder 29"/>
          <p:cNvSpPr>
            <a:spLocks noGrp="1"/>
          </p:cNvSpPr>
          <p:nvPr>
            <p:ph type="pic" sz="quarter" idx="20"/>
          </p:nvPr>
        </p:nvSpPr>
        <p:spPr>
          <a:xfrm>
            <a:off x="9133733" y="2047988"/>
            <a:ext cx="1093272" cy="605474"/>
          </a:xfrm>
        </p:spPr>
        <p:txBody>
          <a:bodyPr rtlCol="0">
            <a:noAutofit/>
          </a:bodyPr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56321" y="4590656"/>
            <a:ext cx="4811558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5449884" y="4590656"/>
            <a:ext cx="4814976" cy="1868920"/>
          </a:xfrm>
        </p:spPr>
        <p:txBody>
          <a:bodyPr/>
          <a:lstStyle>
            <a:lvl1pPr>
              <a:spcAft>
                <a:spcPts val="108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24"/>
          </p:nvPr>
        </p:nvSpPr>
        <p:spPr>
          <a:xfrm>
            <a:off x="4195593" y="4597301"/>
            <a:ext cx="1056346" cy="605474"/>
          </a:xfrm>
        </p:spPr>
        <p:txBody>
          <a:bodyPr rtlCol="0">
            <a:noAutofit/>
          </a:bodyPr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31" name="Picture Placeholder 29"/>
          <p:cNvSpPr>
            <a:spLocks noGrp="1"/>
          </p:cNvSpPr>
          <p:nvPr>
            <p:ph type="pic" sz="quarter" idx="25"/>
          </p:nvPr>
        </p:nvSpPr>
        <p:spPr>
          <a:xfrm>
            <a:off x="9141755" y="4590662"/>
            <a:ext cx="1093272" cy="605474"/>
          </a:xfrm>
        </p:spPr>
        <p:txBody>
          <a:bodyPr rtlCol="0">
            <a:noAutofit/>
          </a:bodyPr>
          <a:lstStyle>
            <a:lvl1pPr marL="0" marR="0" indent="0" algn="l" defTabSz="9905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83"/>
              </a:spcAft>
              <a:buClrTx/>
              <a:buSzTx/>
              <a:buFont typeface="Arial" panose="020B0604020202020204" pitchFamily="34" charset="0"/>
              <a:buNone/>
              <a:tabLst/>
              <a:defRPr sz="975"/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32" name="TextBox 5">
            <a:extLst>
              <a:ext uri="{FF2B5EF4-FFF2-40B4-BE49-F238E27FC236}">
                <a16:creationId xmlns:a16="http://schemas.microsoft.com/office/drawing/2014/main" id="{0AC18421-6559-40A2-AA92-BCAADDFBFBC2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0F719609-C32D-4D5F-958B-FA4E892506C0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34" name="Rectangle">
            <a:extLst>
              <a:ext uri="{FF2B5EF4-FFF2-40B4-BE49-F238E27FC236}">
                <a16:creationId xmlns:a16="http://schemas.microsoft.com/office/drawing/2014/main" id="{D9CE928C-453F-4641-9D36-7389C04F038B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35" name="invimit_logo_white.png" descr="invimit_logo_white.png">
            <a:extLst>
              <a:ext uri="{FF2B5EF4-FFF2-40B4-BE49-F238E27FC236}">
                <a16:creationId xmlns:a16="http://schemas.microsoft.com/office/drawing/2014/main" id="{0D6FA0BE-5B7F-41C4-8E34-0BD128B4193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6" name="Group">
            <a:extLst>
              <a:ext uri="{FF2B5EF4-FFF2-40B4-BE49-F238E27FC236}">
                <a16:creationId xmlns:a16="http://schemas.microsoft.com/office/drawing/2014/main" id="{01DBB692-7A43-45B3-8D0A-8E9947696108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37" name="Line">
              <a:extLst>
                <a:ext uri="{FF2B5EF4-FFF2-40B4-BE49-F238E27FC236}">
                  <a16:creationId xmlns:a16="http://schemas.microsoft.com/office/drawing/2014/main" id="{BBA57CEC-54DD-4879-8F74-97434BF38412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38" name="Line">
              <a:extLst>
                <a:ext uri="{FF2B5EF4-FFF2-40B4-BE49-F238E27FC236}">
                  <a16:creationId xmlns:a16="http://schemas.microsoft.com/office/drawing/2014/main" id="{DFB4E9F9-0C8A-4DD7-A7A2-DA4F51205B43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39" name="Line">
              <a:extLst>
                <a:ext uri="{FF2B5EF4-FFF2-40B4-BE49-F238E27FC236}">
                  <a16:creationId xmlns:a16="http://schemas.microsoft.com/office/drawing/2014/main" id="{961D90CB-822B-49F7-9004-298EBA00F2B0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40" name="Connettore diritto 39">
            <a:extLst>
              <a:ext uri="{FF2B5EF4-FFF2-40B4-BE49-F238E27FC236}">
                <a16:creationId xmlns:a16="http://schemas.microsoft.com/office/drawing/2014/main" id="{E0FF1136-21DB-4492-9ED5-C72A60E9B146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">
            <a:extLst>
              <a:ext uri="{FF2B5EF4-FFF2-40B4-BE49-F238E27FC236}">
                <a16:creationId xmlns:a16="http://schemas.microsoft.com/office/drawing/2014/main" id="{F9BF19F9-19DD-45C2-952C-4EAE0B1954CA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42" name="invimit_logo_white.png" descr="invimit_logo_white.png">
            <a:extLst>
              <a:ext uri="{FF2B5EF4-FFF2-40B4-BE49-F238E27FC236}">
                <a16:creationId xmlns:a16="http://schemas.microsoft.com/office/drawing/2014/main" id="{E287014B-6774-4A3A-8C87-76F2FC20F19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TextBox 13">
            <a:extLst>
              <a:ext uri="{FF2B5EF4-FFF2-40B4-BE49-F238E27FC236}">
                <a16:creationId xmlns:a16="http://schemas.microsoft.com/office/drawing/2014/main" id="{215C3DDD-0ACC-4906-A84C-EBFB064D04D3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44" name="TextBox 9">
            <a:extLst>
              <a:ext uri="{FF2B5EF4-FFF2-40B4-BE49-F238E27FC236}">
                <a16:creationId xmlns:a16="http://schemas.microsoft.com/office/drawing/2014/main" id="{CE2042E0-FA92-40A6-B6A5-5AE6EBE1E7B3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5" name="Immagine 44">
            <a:extLst>
              <a:ext uri="{FF2B5EF4-FFF2-40B4-BE49-F238E27FC236}">
                <a16:creationId xmlns:a16="http://schemas.microsoft.com/office/drawing/2014/main" id="{8273915D-CC45-4E29-B0C6-FAEF135AF52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18932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447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704">
                <a:latin typeface="+mn-lt"/>
              </a:rPr>
              <a:t>Member firms and DTTL: Insert appropriate copyright</a:t>
            </a:r>
            <a:br>
              <a:rPr lang="en-GB" sz="704">
                <a:latin typeface="+mn-lt"/>
              </a:rPr>
            </a:br>
            <a:r>
              <a:rPr lang="en-GB" sz="704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763963" y="1881188"/>
            <a:ext cx="3168650" cy="58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33388" y="1874838"/>
            <a:ext cx="3168650" cy="650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092950" y="1881188"/>
            <a:ext cx="3167063" cy="58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78748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192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88" y="349987"/>
            <a:ext cx="9823450" cy="368284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93450" y="2040871"/>
            <a:ext cx="3104920" cy="423923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33388" y="2040871"/>
            <a:ext cx="3121953" cy="423923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158954" y="2040871"/>
            <a:ext cx="3097884" cy="423923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9924" y="718270"/>
            <a:ext cx="9816913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20" name="TextBox 5">
            <a:extLst>
              <a:ext uri="{FF2B5EF4-FFF2-40B4-BE49-F238E27FC236}">
                <a16:creationId xmlns:a16="http://schemas.microsoft.com/office/drawing/2014/main" id="{F36C803F-DF01-4F23-AD9E-1004A653AA6B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A6673F5E-3E8C-48D7-A30B-54B4B79DEC78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22" name="Rectangle">
            <a:extLst>
              <a:ext uri="{FF2B5EF4-FFF2-40B4-BE49-F238E27FC236}">
                <a16:creationId xmlns:a16="http://schemas.microsoft.com/office/drawing/2014/main" id="{C83701E2-D22C-421E-817E-DF7A9D45F9C5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3" name="invimit_logo_white.png" descr="invimit_logo_white.png">
            <a:extLst>
              <a:ext uri="{FF2B5EF4-FFF2-40B4-BE49-F238E27FC236}">
                <a16:creationId xmlns:a16="http://schemas.microsoft.com/office/drawing/2014/main" id="{ABF60D30-E15F-4586-A57C-B6A536E3A6C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4" name="Group">
            <a:extLst>
              <a:ext uri="{FF2B5EF4-FFF2-40B4-BE49-F238E27FC236}">
                <a16:creationId xmlns:a16="http://schemas.microsoft.com/office/drawing/2014/main" id="{9AAEFFC5-75C5-4963-95C1-F111EF429A1D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25" name="Line">
              <a:extLst>
                <a:ext uri="{FF2B5EF4-FFF2-40B4-BE49-F238E27FC236}">
                  <a16:creationId xmlns:a16="http://schemas.microsoft.com/office/drawing/2014/main" id="{95C6DFC9-AD11-4653-9AA1-7C16FF400534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6" name="Line">
              <a:extLst>
                <a:ext uri="{FF2B5EF4-FFF2-40B4-BE49-F238E27FC236}">
                  <a16:creationId xmlns:a16="http://schemas.microsoft.com/office/drawing/2014/main" id="{D6BE1362-3CB6-4DF5-B032-84D48D7CF61B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7" name="Line">
              <a:extLst>
                <a:ext uri="{FF2B5EF4-FFF2-40B4-BE49-F238E27FC236}">
                  <a16:creationId xmlns:a16="http://schemas.microsoft.com/office/drawing/2014/main" id="{236BC6D9-ADAF-4629-ADBE-1F48F2FC2A33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8" name="Connettore diritto 27">
            <a:extLst>
              <a:ext uri="{FF2B5EF4-FFF2-40B4-BE49-F238E27FC236}">
                <a16:creationId xmlns:a16="http://schemas.microsoft.com/office/drawing/2014/main" id="{9F40D837-836F-4710-94F3-2AE8E0B9CF8C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">
            <a:extLst>
              <a:ext uri="{FF2B5EF4-FFF2-40B4-BE49-F238E27FC236}">
                <a16:creationId xmlns:a16="http://schemas.microsoft.com/office/drawing/2014/main" id="{242DB833-2538-4193-A568-3A6BA5F26BEF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30" name="invimit_logo_white.png" descr="invimit_logo_white.png">
            <a:extLst>
              <a:ext uri="{FF2B5EF4-FFF2-40B4-BE49-F238E27FC236}">
                <a16:creationId xmlns:a16="http://schemas.microsoft.com/office/drawing/2014/main" id="{3B59162F-37C6-4848-AB9B-0F40F8EE975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pic>
        <p:nvPicPr>
          <p:cNvPr id="31" name="Immagine 30">
            <a:extLst>
              <a:ext uri="{FF2B5EF4-FFF2-40B4-BE49-F238E27FC236}">
                <a16:creationId xmlns:a16="http://schemas.microsoft.com/office/drawing/2014/main" id="{96D51571-F281-40FE-9908-C89E779820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9455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ggetto 22" hidden="1">
            <a:extLst>
              <a:ext uri="{FF2B5EF4-FFF2-40B4-BE49-F238E27FC236}">
                <a16:creationId xmlns:a16="http://schemas.microsoft.com/office/drawing/2014/main" id="{2BFC110B-ECA9-4C4E-8C3F-0A75EF960A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944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23" name="Oggetto 22" hidden="1">
                        <a:extLst>
                          <a:ext uri="{FF2B5EF4-FFF2-40B4-BE49-F238E27FC236}">
                            <a16:creationId xmlns:a16="http://schemas.microsoft.com/office/drawing/2014/main" id="{2BFC110B-ECA9-4C4E-8C3F-0A75EF960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600437FD-E8BA-47CE-8FB4-2E77B2047DC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927" y="349989"/>
            <a:ext cx="9816912" cy="368282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4340" y="2817517"/>
            <a:ext cx="2273063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952698" y="2817517"/>
            <a:ext cx="2273063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60460" y="2817517"/>
            <a:ext cx="2273063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56578" y="2817517"/>
            <a:ext cx="2273063" cy="374213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83"/>
              </a:spcAft>
              <a:defRPr/>
            </a:lvl2pPr>
            <a:lvl3pPr marL="0" indent="0">
              <a:spcAft>
                <a:spcPts val="1083"/>
              </a:spcAft>
              <a:buNone/>
              <a:defRPr/>
            </a:lvl3pPr>
            <a:lvl4pPr marL="191094" indent="-191094">
              <a:spcAft>
                <a:spcPts val="1083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1083"/>
              </a:spcAft>
              <a:defRPr baseline="0"/>
            </a:lvl5pPr>
            <a:lvl6pPr marL="386089" indent="-191094">
              <a:spcAft>
                <a:spcPts val="1083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1083"/>
              </a:spcAft>
              <a:defRPr/>
            </a:lvl7pPr>
            <a:lvl8pPr marL="386089" indent="-191094">
              <a:spcAft>
                <a:spcPts val="1083"/>
              </a:spcAft>
              <a:defRPr/>
            </a:lvl8pPr>
            <a:lvl9pPr marL="386089" indent="-191094">
              <a:spcAft>
                <a:spcPts val="1083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9926" y="718270"/>
            <a:ext cx="9816912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3388" y="7327830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latin typeface="+mn-lt"/>
              </a:rPr>
              <a:t>Strictly private and confidential</a:t>
            </a: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E05EBA03-A7DE-4DC2-8387-B785D1F86091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1DB4FC32-EA42-43F6-8728-F8B43E64A153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4" name="Rectangle">
            <a:extLst>
              <a:ext uri="{FF2B5EF4-FFF2-40B4-BE49-F238E27FC236}">
                <a16:creationId xmlns:a16="http://schemas.microsoft.com/office/drawing/2014/main" id="{8FD33667-D5F7-430B-A343-AF273FC3A972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5" name="invimit_logo_white.png" descr="invimit_logo_white.png">
            <a:extLst>
              <a:ext uri="{FF2B5EF4-FFF2-40B4-BE49-F238E27FC236}">
                <a16:creationId xmlns:a16="http://schemas.microsoft.com/office/drawing/2014/main" id="{CD19CC31-72F5-405F-97EF-862BFB0032F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6" name="Group">
            <a:extLst>
              <a:ext uri="{FF2B5EF4-FFF2-40B4-BE49-F238E27FC236}">
                <a16:creationId xmlns:a16="http://schemas.microsoft.com/office/drawing/2014/main" id="{9E3CC648-CDDF-4A3E-8918-90C837B5E3D0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17" name="Line">
              <a:extLst>
                <a:ext uri="{FF2B5EF4-FFF2-40B4-BE49-F238E27FC236}">
                  <a16:creationId xmlns:a16="http://schemas.microsoft.com/office/drawing/2014/main" id="{0D25A59A-14DC-451C-B5C4-FD731C27C9E6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8" name="Line">
              <a:extLst>
                <a:ext uri="{FF2B5EF4-FFF2-40B4-BE49-F238E27FC236}">
                  <a16:creationId xmlns:a16="http://schemas.microsoft.com/office/drawing/2014/main" id="{1D4823C4-7AD1-409E-A81D-08B3C9A58D6A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9" name="Line">
              <a:extLst>
                <a:ext uri="{FF2B5EF4-FFF2-40B4-BE49-F238E27FC236}">
                  <a16:creationId xmlns:a16="http://schemas.microsoft.com/office/drawing/2014/main" id="{B25C3308-CFC0-475D-B755-BBEEADA5DF1A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1308ED6F-70EB-4C62-ABA9-0D28BEAF94F4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">
            <a:extLst>
              <a:ext uri="{FF2B5EF4-FFF2-40B4-BE49-F238E27FC236}">
                <a16:creationId xmlns:a16="http://schemas.microsoft.com/office/drawing/2014/main" id="{3E9B43C5-A090-4FD0-86DD-B88EAF8AC6A6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2" name="invimit_logo_white.png" descr="invimit_logo_white.png">
            <a:extLst>
              <a:ext uri="{FF2B5EF4-FFF2-40B4-BE49-F238E27FC236}">
                <a16:creationId xmlns:a16="http://schemas.microsoft.com/office/drawing/2014/main" id="{7882790D-5693-4672-9C9B-48F3C339020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E7A628E9-FE8E-4C52-A904-300A9F4BD88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19451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4869B161-DBDE-452F-A494-7BE778B7C3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0444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4869B161-DBDE-452F-A494-7BE778B7C3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5C1BBA7D-51DC-4D78-BC88-006824D3007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3388" y="349990"/>
            <a:ext cx="9823450" cy="36828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33389" y="1835675"/>
            <a:ext cx="4912520" cy="5199027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3388" y="7327830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latin typeface="+mn-lt"/>
              </a:rPr>
              <a:t>Strictly private and confidential</a:t>
            </a: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D44A0426-FCDA-4E1F-ABFE-4DFD304A9EA5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34FB766D-3763-443E-A788-CD8231842AD6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4" name="Rectangle">
            <a:extLst>
              <a:ext uri="{FF2B5EF4-FFF2-40B4-BE49-F238E27FC236}">
                <a16:creationId xmlns:a16="http://schemas.microsoft.com/office/drawing/2014/main" id="{5F3369B0-8B7C-4623-BAD4-2AA134CBF976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5" name="invimit_logo_white.png" descr="invimit_logo_white.png">
            <a:extLst>
              <a:ext uri="{FF2B5EF4-FFF2-40B4-BE49-F238E27FC236}">
                <a16:creationId xmlns:a16="http://schemas.microsoft.com/office/drawing/2014/main" id="{8BE172A1-B6B3-474A-BFC8-EAAEE326A6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6" name="Group">
            <a:extLst>
              <a:ext uri="{FF2B5EF4-FFF2-40B4-BE49-F238E27FC236}">
                <a16:creationId xmlns:a16="http://schemas.microsoft.com/office/drawing/2014/main" id="{D545CB50-611F-4DFD-87ED-E95CD8C79DBA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17" name="Line">
              <a:extLst>
                <a:ext uri="{FF2B5EF4-FFF2-40B4-BE49-F238E27FC236}">
                  <a16:creationId xmlns:a16="http://schemas.microsoft.com/office/drawing/2014/main" id="{ED7E2038-A212-4C4B-895D-8314B13742E4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8" name="Line">
              <a:extLst>
                <a:ext uri="{FF2B5EF4-FFF2-40B4-BE49-F238E27FC236}">
                  <a16:creationId xmlns:a16="http://schemas.microsoft.com/office/drawing/2014/main" id="{12E6A15C-8C7C-4E87-80ED-0BF722FC081E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9" name="Line">
              <a:extLst>
                <a:ext uri="{FF2B5EF4-FFF2-40B4-BE49-F238E27FC236}">
                  <a16:creationId xmlns:a16="http://schemas.microsoft.com/office/drawing/2014/main" id="{40C46062-3878-4069-8901-B6FB82E574BC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AAA6B862-3062-4A1E-A6FE-130A0166C4BF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">
            <a:extLst>
              <a:ext uri="{FF2B5EF4-FFF2-40B4-BE49-F238E27FC236}">
                <a16:creationId xmlns:a16="http://schemas.microsoft.com/office/drawing/2014/main" id="{69B48C3A-C1A0-4C94-9523-DB392E138686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2" name="invimit_logo_white.png" descr="invimit_logo_white.png">
            <a:extLst>
              <a:ext uri="{FF2B5EF4-FFF2-40B4-BE49-F238E27FC236}">
                <a16:creationId xmlns:a16="http://schemas.microsoft.com/office/drawing/2014/main" id="{DC391301-CBED-4E7C-B778-D5145C119B2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extBox 9">
            <a:extLst>
              <a:ext uri="{FF2B5EF4-FFF2-40B4-BE49-F238E27FC236}">
                <a16:creationId xmlns:a16="http://schemas.microsoft.com/office/drawing/2014/main" id="{DCD996D9-12E0-4B48-AE38-4ED2A1FD33E5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4" name="Immagine 23">
            <a:extLst>
              <a:ext uri="{FF2B5EF4-FFF2-40B4-BE49-F238E27FC236}">
                <a16:creationId xmlns:a16="http://schemas.microsoft.com/office/drawing/2014/main" id="{F5D35DE5-779A-4D58-9F7D-1B43BE3F90E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38662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54239FA2-3A7D-4FCF-98ED-7C33BBC8EF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7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15" imgH="416" progId="TCLayout.ActiveDocument.1">
                  <p:embed/>
                </p:oleObj>
              </mc:Choice>
              <mc:Fallback>
                <p:oleObj name="Diapositiva think-cell" r:id="rId3" imgW="415" imgH="41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54239FA2-3A7D-4FCF-98ED-7C33BBC8EF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33388" y="7327830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latin typeface="+mn-lt"/>
              </a:rPr>
              <a:t>Strictly private and confidential</a:t>
            </a:r>
          </a:p>
        </p:txBody>
      </p:sp>
      <p:sp>
        <p:nvSpPr>
          <p:cNvPr id="4" name="TextBox 5">
            <a:extLst>
              <a:ext uri="{FF2B5EF4-FFF2-40B4-BE49-F238E27FC236}">
                <a16:creationId xmlns:a16="http://schemas.microsoft.com/office/drawing/2014/main" id="{920373FC-0CA4-474D-A3B5-7AE3791B4AC0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F0780ED8-2A9C-4EF9-9CF6-D278A8E69B38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BB11FEE4-EEA0-43BC-9071-07A766B8D09C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8" name="invimit_logo_white.png" descr="invimit_logo_white.png">
            <a:extLst>
              <a:ext uri="{FF2B5EF4-FFF2-40B4-BE49-F238E27FC236}">
                <a16:creationId xmlns:a16="http://schemas.microsoft.com/office/drawing/2014/main" id="{84001559-A5B2-4595-92AB-479B1740CF6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9" name="Group">
            <a:extLst>
              <a:ext uri="{FF2B5EF4-FFF2-40B4-BE49-F238E27FC236}">
                <a16:creationId xmlns:a16="http://schemas.microsoft.com/office/drawing/2014/main" id="{6B69170F-C6BE-4F43-A706-A2462BA48E25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10" name="Line">
              <a:extLst>
                <a:ext uri="{FF2B5EF4-FFF2-40B4-BE49-F238E27FC236}">
                  <a16:creationId xmlns:a16="http://schemas.microsoft.com/office/drawing/2014/main" id="{B4F180B7-E719-4473-A1F4-959E28959CA2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1" name="Line">
              <a:extLst>
                <a:ext uri="{FF2B5EF4-FFF2-40B4-BE49-F238E27FC236}">
                  <a16:creationId xmlns:a16="http://schemas.microsoft.com/office/drawing/2014/main" id="{4A2A7E13-668B-4CC8-B7AB-087A73929424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2" name="Line">
              <a:extLst>
                <a:ext uri="{FF2B5EF4-FFF2-40B4-BE49-F238E27FC236}">
                  <a16:creationId xmlns:a16="http://schemas.microsoft.com/office/drawing/2014/main" id="{A3E2A4BC-FA6C-4901-9859-BB145DAA2E20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A83BA032-66B7-4567-8277-9191EC5E21A3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">
            <a:extLst>
              <a:ext uri="{FF2B5EF4-FFF2-40B4-BE49-F238E27FC236}">
                <a16:creationId xmlns:a16="http://schemas.microsoft.com/office/drawing/2014/main" id="{54DDDF8A-757B-4109-A32A-C98DF3C83D70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5" name="invimit_logo_white.png" descr="invimit_logo_white.png">
            <a:extLst>
              <a:ext uri="{FF2B5EF4-FFF2-40B4-BE49-F238E27FC236}">
                <a16:creationId xmlns:a16="http://schemas.microsoft.com/office/drawing/2014/main" id="{F68BD1C7-5B32-40D6-8354-D3DFABC86A5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TextBox 9">
            <a:extLst>
              <a:ext uri="{FF2B5EF4-FFF2-40B4-BE49-F238E27FC236}">
                <a16:creationId xmlns:a16="http://schemas.microsoft.com/office/drawing/2014/main" id="{E4B2121E-3344-46D0-818A-27143F1C375E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08F3EF5F-DC76-4BDD-8142-A8B8DD82F40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56006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i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507E2D4D-43EE-4A24-BB99-5B522B1571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10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78" imgH="379" progId="TCLayout.ActiveDocument.1">
                  <p:embed/>
                </p:oleObj>
              </mc:Choice>
              <mc:Fallback>
                <p:oleObj name="Diapositiva think-cell" r:id="rId3" imgW="378" imgH="379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507E2D4D-43EE-4A24-BB99-5B522B157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3">
            <a:extLst>
              <a:ext uri="{FF2B5EF4-FFF2-40B4-BE49-F238E27FC236}">
                <a16:creationId xmlns:a16="http://schemas.microsoft.com/office/drawing/2014/main" id="{E7E07593-2EFC-4976-8043-BF4658992839}"/>
              </a:ext>
            </a:extLst>
          </p:cNvPr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4" name="TextBox 5">
            <a:extLst>
              <a:ext uri="{FF2B5EF4-FFF2-40B4-BE49-F238E27FC236}">
                <a16:creationId xmlns:a16="http://schemas.microsoft.com/office/drawing/2014/main" id="{69F3BC63-9811-4569-8390-292856390A42}"/>
              </a:ext>
            </a:extLst>
          </p:cNvPr>
          <p:cNvSpPr txBox="1"/>
          <p:nvPr userDrawn="1"/>
        </p:nvSpPr>
        <p:spPr>
          <a:xfrm>
            <a:off x="433388" y="7327830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latin typeface="+mn-lt"/>
              </a:rPr>
              <a:t>Strictly private and confidential</a:t>
            </a:r>
          </a:p>
        </p:txBody>
      </p:sp>
      <p:sp>
        <p:nvSpPr>
          <p:cNvPr id="15" name="TextBox 5">
            <a:extLst>
              <a:ext uri="{FF2B5EF4-FFF2-40B4-BE49-F238E27FC236}">
                <a16:creationId xmlns:a16="http://schemas.microsoft.com/office/drawing/2014/main" id="{929EC45B-80C7-4387-AD74-3EF9CA59CAC9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734BCEEF-AB77-4B69-8610-FA497D0F29CA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pic>
        <p:nvPicPr>
          <p:cNvPr id="17" name="invimit_logo_white.png" descr="invimit_logo_white.png">
            <a:extLst>
              <a:ext uri="{FF2B5EF4-FFF2-40B4-BE49-F238E27FC236}">
                <a16:creationId xmlns:a16="http://schemas.microsoft.com/office/drawing/2014/main" id="{73D23349-B0EC-42A3-9652-CC466F80536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8" name="Group">
            <a:extLst>
              <a:ext uri="{FF2B5EF4-FFF2-40B4-BE49-F238E27FC236}">
                <a16:creationId xmlns:a16="http://schemas.microsoft.com/office/drawing/2014/main" id="{B3ADF384-36EF-49EF-B034-1C9721179C82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19" name="Line">
              <a:extLst>
                <a:ext uri="{FF2B5EF4-FFF2-40B4-BE49-F238E27FC236}">
                  <a16:creationId xmlns:a16="http://schemas.microsoft.com/office/drawing/2014/main" id="{6B96ABFE-5A58-4A4D-BDE4-5A1A7980DD53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0" name="Line">
              <a:extLst>
                <a:ext uri="{FF2B5EF4-FFF2-40B4-BE49-F238E27FC236}">
                  <a16:creationId xmlns:a16="http://schemas.microsoft.com/office/drawing/2014/main" id="{8117D4B3-E5A8-4FDA-8D3D-B163E0483AA4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1" name="Line">
              <a:extLst>
                <a:ext uri="{FF2B5EF4-FFF2-40B4-BE49-F238E27FC236}">
                  <a16:creationId xmlns:a16="http://schemas.microsoft.com/office/drawing/2014/main" id="{CCE62826-251A-4828-81A4-6CD7CA1A9BC8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16EBC17B-167E-4785-B550-C6FB6BB395AC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">
            <a:extLst>
              <a:ext uri="{FF2B5EF4-FFF2-40B4-BE49-F238E27FC236}">
                <a16:creationId xmlns:a16="http://schemas.microsoft.com/office/drawing/2014/main" id="{A2D51529-C326-49B1-83FB-B6BCB477EC06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4" name="invimit_logo_white.png" descr="invimit_logo_white.png">
            <a:extLst>
              <a:ext uri="{FF2B5EF4-FFF2-40B4-BE49-F238E27FC236}">
                <a16:creationId xmlns:a16="http://schemas.microsoft.com/office/drawing/2014/main" id="{C4D35CCE-A94F-4262-8109-2F218A395F5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TextBox 9">
            <a:extLst>
              <a:ext uri="{FF2B5EF4-FFF2-40B4-BE49-F238E27FC236}">
                <a16:creationId xmlns:a16="http://schemas.microsoft.com/office/drawing/2014/main" id="{654F9669-95C4-4682-997C-6DF8B05F3706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Rectangle">
            <a:extLst>
              <a:ext uri="{FF2B5EF4-FFF2-40B4-BE49-F238E27FC236}">
                <a16:creationId xmlns:a16="http://schemas.microsoft.com/office/drawing/2014/main" id="{FF584515-0E60-4E24-A3CC-AA60CE54EEFB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5FE862D8-CD66-4ED7-B582-92F5ED35A97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3587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E6836226-24A0-4E3F-8696-523A1691EF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55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15" imgH="416" progId="TCLayout.ActiveDocument.1">
                  <p:embed/>
                </p:oleObj>
              </mc:Choice>
              <mc:Fallback>
                <p:oleObj name="Diapositiva think-cell" r:id="rId3" imgW="415" imgH="416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E6836226-24A0-4E3F-8696-523A1691E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646700" y="784072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58863" y="3924324"/>
            <a:ext cx="4783901" cy="55738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chemeClr val="tx1"/>
                </a:solidFill>
              </a:defRPr>
            </a:lvl1pPr>
            <a:lvl2pPr marL="0" indent="0" algn="l">
              <a:buNone/>
              <a:defRPr sz="1800" b="0"/>
            </a:lvl2pPr>
            <a:lvl3pPr marL="990571" indent="0" algn="ctr">
              <a:buNone/>
              <a:defRPr sz="1950"/>
            </a:lvl3pPr>
            <a:lvl4pPr marL="1485856" indent="0" algn="ctr">
              <a:buNone/>
              <a:defRPr sz="1733"/>
            </a:lvl4pPr>
            <a:lvl5pPr marL="1981140" indent="0" algn="ctr">
              <a:buNone/>
              <a:defRPr sz="1733"/>
            </a:lvl5pPr>
            <a:lvl6pPr marL="2476426" indent="0" algn="ctr">
              <a:buNone/>
              <a:defRPr sz="1733"/>
            </a:lvl6pPr>
            <a:lvl7pPr marL="2971711" indent="0" algn="ctr">
              <a:buNone/>
              <a:defRPr sz="1733"/>
            </a:lvl7pPr>
            <a:lvl8pPr marL="3466995" indent="0" algn="ctr">
              <a:buNone/>
              <a:defRPr sz="1733"/>
            </a:lvl8pPr>
            <a:lvl9pPr marL="3962281" indent="0" algn="ctr">
              <a:buNone/>
              <a:defRPr sz="1733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58863" y="5714742"/>
            <a:ext cx="4783902" cy="3289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9568575" y="7095"/>
            <a:ext cx="1010801" cy="27748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GB" sz="1800" b="1" spc="110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6" name="Rectangle">
            <a:extLst>
              <a:ext uri="{FF2B5EF4-FFF2-40B4-BE49-F238E27FC236}">
                <a16:creationId xmlns:a16="http://schemas.microsoft.com/office/drawing/2014/main" id="{762A4E1A-5DF3-4822-9E63-EA196BF81AB1}"/>
              </a:ext>
            </a:extLst>
          </p:cNvPr>
          <p:cNvSpPr/>
          <p:nvPr userDrawn="1"/>
        </p:nvSpPr>
        <p:spPr>
          <a:xfrm>
            <a:off x="0" y="4061865"/>
            <a:ext cx="10691813" cy="3586334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8" name="invimit_logo_white.png" descr="invimit_logo_white.png">
            <a:extLst>
              <a:ext uri="{FF2B5EF4-FFF2-40B4-BE49-F238E27FC236}">
                <a16:creationId xmlns:a16="http://schemas.microsoft.com/office/drawing/2014/main" id="{290AF275-157A-4775-82F8-AFF69F9BFF8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0" name="Group">
            <a:extLst>
              <a:ext uri="{FF2B5EF4-FFF2-40B4-BE49-F238E27FC236}">
                <a16:creationId xmlns:a16="http://schemas.microsoft.com/office/drawing/2014/main" id="{87CC0AB8-E627-4C0B-8057-692895F99761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11" name="Line">
              <a:extLst>
                <a:ext uri="{FF2B5EF4-FFF2-40B4-BE49-F238E27FC236}">
                  <a16:creationId xmlns:a16="http://schemas.microsoft.com/office/drawing/2014/main" id="{4965133F-4232-4B84-8AC5-C4AA7C7022A9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2" name="Line">
              <a:extLst>
                <a:ext uri="{FF2B5EF4-FFF2-40B4-BE49-F238E27FC236}">
                  <a16:creationId xmlns:a16="http://schemas.microsoft.com/office/drawing/2014/main" id="{E103B450-BC1B-4B27-9485-B8BAB9A45D9B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3" name="Line">
              <a:extLst>
                <a:ext uri="{FF2B5EF4-FFF2-40B4-BE49-F238E27FC236}">
                  <a16:creationId xmlns:a16="http://schemas.microsoft.com/office/drawing/2014/main" id="{99CAAC20-C39B-4F28-9D10-154F255F82E6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E613C0C4-C207-48BC-B888-D78844B6B067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64815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57D0210A-5F23-47E6-A93B-42064BA990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927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57D0210A-5F23-47E6-A93B-42064BA99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0A38EA91-ECAA-452A-9DE8-18E59F1A3B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33388" y="349987"/>
            <a:ext cx="9823450" cy="36828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28582" y="2333808"/>
            <a:ext cx="4084920" cy="5199025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448137" algn="r"/>
              </a:tabLst>
              <a:defRPr sz="1733"/>
            </a:lvl1pPr>
            <a:lvl2pPr>
              <a:tabLst>
                <a:tab pos="5448137" algn="r"/>
              </a:tabLst>
              <a:defRPr sz="1733"/>
            </a:lvl2pPr>
            <a:lvl3pPr>
              <a:tabLst>
                <a:tab pos="5448137" algn="r"/>
              </a:tabLst>
              <a:defRPr sz="1733"/>
            </a:lvl3pPr>
            <a:lvl4pPr>
              <a:tabLst>
                <a:tab pos="5448137" algn="r"/>
              </a:tabLst>
              <a:defRPr sz="1733"/>
            </a:lvl4pPr>
            <a:lvl5pPr>
              <a:tabLst>
                <a:tab pos="5448137" algn="r"/>
              </a:tabLst>
              <a:defRPr baseline="0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5598468" y="1835676"/>
            <a:ext cx="4658369" cy="5199025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448137" algn="r"/>
              </a:tabLst>
              <a:defRPr sz="1733"/>
            </a:lvl1pPr>
            <a:lvl2pPr>
              <a:tabLst>
                <a:tab pos="5448137" algn="r"/>
              </a:tabLst>
              <a:defRPr sz="1733"/>
            </a:lvl2pPr>
            <a:lvl3pPr>
              <a:tabLst>
                <a:tab pos="5448137" algn="r"/>
              </a:tabLst>
              <a:defRPr sz="1733"/>
            </a:lvl3pPr>
            <a:lvl4pPr>
              <a:tabLst>
                <a:tab pos="5448137" algn="r"/>
              </a:tabLst>
              <a:defRPr sz="1733"/>
            </a:lvl4pPr>
            <a:lvl5pPr>
              <a:tabLst>
                <a:tab pos="5448137" algn="r"/>
              </a:tabLst>
              <a:defRPr baseline="0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9A98DE1C-D7DF-4827-AFC9-5743E294252B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2" name="invimit_logo_white.png" descr="invimit_logo_white.png">
            <a:extLst>
              <a:ext uri="{FF2B5EF4-FFF2-40B4-BE49-F238E27FC236}">
                <a16:creationId xmlns:a16="http://schemas.microsoft.com/office/drawing/2014/main" id="{89757951-24D2-47C3-A69E-8A901A36896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4" name="Group">
            <a:extLst>
              <a:ext uri="{FF2B5EF4-FFF2-40B4-BE49-F238E27FC236}">
                <a16:creationId xmlns:a16="http://schemas.microsoft.com/office/drawing/2014/main" id="{69C5E519-245C-4E02-B96A-C48CC91C1210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15" name="Line">
              <a:extLst>
                <a:ext uri="{FF2B5EF4-FFF2-40B4-BE49-F238E27FC236}">
                  <a16:creationId xmlns:a16="http://schemas.microsoft.com/office/drawing/2014/main" id="{5483022E-DFAA-4C09-AD2C-FB093CDD5644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6" name="Line">
              <a:extLst>
                <a:ext uri="{FF2B5EF4-FFF2-40B4-BE49-F238E27FC236}">
                  <a16:creationId xmlns:a16="http://schemas.microsoft.com/office/drawing/2014/main" id="{CBA284E6-FDFF-460C-8CC6-2E0ED00500F4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7" name="Line">
              <a:extLst>
                <a:ext uri="{FF2B5EF4-FFF2-40B4-BE49-F238E27FC236}">
                  <a16:creationId xmlns:a16="http://schemas.microsoft.com/office/drawing/2014/main" id="{8AFC1430-1A80-4E32-A8BF-5CF19093F573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18" name="Connettore diritto 17">
            <a:extLst>
              <a:ext uri="{FF2B5EF4-FFF2-40B4-BE49-F238E27FC236}">
                <a16:creationId xmlns:a16="http://schemas.microsoft.com/office/drawing/2014/main" id="{EAA1F783-791C-47B5-A158-23F499436D65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">
            <a:extLst>
              <a:ext uri="{FF2B5EF4-FFF2-40B4-BE49-F238E27FC236}">
                <a16:creationId xmlns:a16="http://schemas.microsoft.com/office/drawing/2014/main" id="{5948D5CF-23A2-4FED-ADED-0A1575A0422B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6" name="invimit_logo_white.png" descr="invimit_logo_white.png">
            <a:extLst>
              <a:ext uri="{FF2B5EF4-FFF2-40B4-BE49-F238E27FC236}">
                <a16:creationId xmlns:a16="http://schemas.microsoft.com/office/drawing/2014/main" id="{9DB27204-65E6-48AF-B856-E9CB244539A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extBox 13">
            <a:extLst>
              <a:ext uri="{FF2B5EF4-FFF2-40B4-BE49-F238E27FC236}">
                <a16:creationId xmlns:a16="http://schemas.microsoft.com/office/drawing/2014/main" id="{BB88F03E-60B7-42E9-8576-ACE9B940379D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20" name="TextBox 9">
            <a:extLst>
              <a:ext uri="{FF2B5EF4-FFF2-40B4-BE49-F238E27FC236}">
                <a16:creationId xmlns:a16="http://schemas.microsoft.com/office/drawing/2014/main" id="{1B46F53B-FCD4-4ACA-B51E-72A13A6870D3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611194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42117AE9-EA32-4F80-9CFB-8FD26E618F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161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42117AE9-EA32-4F80-9CFB-8FD26E618F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354BD656-9D59-45E9-B4EA-DA195264BFC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33388" y="1835676"/>
            <a:ext cx="4684044" cy="4911612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560956" y="2342434"/>
            <a:ext cx="4695882" cy="4404850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60956" y="1835673"/>
            <a:ext cx="4695882" cy="46372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33388" y="349990"/>
            <a:ext cx="9823450" cy="36827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33388" y="6747289"/>
            <a:ext cx="9823450" cy="286924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4" name="TextBox 5">
            <a:extLst>
              <a:ext uri="{FF2B5EF4-FFF2-40B4-BE49-F238E27FC236}">
                <a16:creationId xmlns:a16="http://schemas.microsoft.com/office/drawing/2014/main" id="{C6634A14-20FA-457F-B994-6BBDFFE3FD7D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45500EA0-32A1-47ED-A8FD-C14CF90F1C32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7" name="Rectangle">
            <a:extLst>
              <a:ext uri="{FF2B5EF4-FFF2-40B4-BE49-F238E27FC236}">
                <a16:creationId xmlns:a16="http://schemas.microsoft.com/office/drawing/2014/main" id="{AFDFC92A-87F8-4165-AF04-19A8C54688DF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8" name="invimit_logo_white.png" descr="invimit_logo_white.png">
            <a:extLst>
              <a:ext uri="{FF2B5EF4-FFF2-40B4-BE49-F238E27FC236}">
                <a16:creationId xmlns:a16="http://schemas.microsoft.com/office/drawing/2014/main" id="{D9A8D2A4-FAAE-4148-9662-65519FE2CC0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9" name="Group">
            <a:extLst>
              <a:ext uri="{FF2B5EF4-FFF2-40B4-BE49-F238E27FC236}">
                <a16:creationId xmlns:a16="http://schemas.microsoft.com/office/drawing/2014/main" id="{5F07AE24-311E-4CA4-BF00-12C8DC0EFF2E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20" name="Line">
              <a:extLst>
                <a:ext uri="{FF2B5EF4-FFF2-40B4-BE49-F238E27FC236}">
                  <a16:creationId xmlns:a16="http://schemas.microsoft.com/office/drawing/2014/main" id="{185E08DB-D503-418B-820B-090D7F6E4BD6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1" name="Line">
              <a:extLst>
                <a:ext uri="{FF2B5EF4-FFF2-40B4-BE49-F238E27FC236}">
                  <a16:creationId xmlns:a16="http://schemas.microsoft.com/office/drawing/2014/main" id="{7EBBA17C-C6E9-4017-BDE9-F44F322BF86D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2" name="Line">
              <a:extLst>
                <a:ext uri="{FF2B5EF4-FFF2-40B4-BE49-F238E27FC236}">
                  <a16:creationId xmlns:a16="http://schemas.microsoft.com/office/drawing/2014/main" id="{C5E0A4C7-232D-4113-A4F2-E429BB7F6A59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F38AEA7F-BFD1-404F-B8F3-9C1D9277E8C3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">
            <a:extLst>
              <a:ext uri="{FF2B5EF4-FFF2-40B4-BE49-F238E27FC236}">
                <a16:creationId xmlns:a16="http://schemas.microsoft.com/office/drawing/2014/main" id="{9DA04B2C-5A62-4502-8057-53D4B2DFD0B0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5" name="invimit_logo_white.png" descr="invimit_logo_white.png">
            <a:extLst>
              <a:ext uri="{FF2B5EF4-FFF2-40B4-BE49-F238E27FC236}">
                <a16:creationId xmlns:a16="http://schemas.microsoft.com/office/drawing/2014/main" id="{B8834E5F-35A6-4659-A396-7F4869636A6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TextBox 13">
            <a:extLst>
              <a:ext uri="{FF2B5EF4-FFF2-40B4-BE49-F238E27FC236}">
                <a16:creationId xmlns:a16="http://schemas.microsoft.com/office/drawing/2014/main" id="{6C0B72F5-D63D-4E6F-8AD2-066637AA5003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27" name="TextBox 9">
            <a:extLst>
              <a:ext uri="{FF2B5EF4-FFF2-40B4-BE49-F238E27FC236}">
                <a16:creationId xmlns:a16="http://schemas.microsoft.com/office/drawing/2014/main" id="{07749C3E-8143-4C6F-9A30-3537427907BC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099039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3209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3388" y="7327830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latin typeface="+mn-lt"/>
              </a:rPr>
              <a:t>Strictly private and confidentia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560956" y="2342434"/>
            <a:ext cx="4695882" cy="4404850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60956" y="1835673"/>
            <a:ext cx="4695882" cy="46372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3980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33388" y="349990"/>
            <a:ext cx="9823450" cy="36827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33389" y="2342434"/>
            <a:ext cx="4688646" cy="4404850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33385" y="1835673"/>
            <a:ext cx="4688649" cy="46372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568575" y="7095"/>
            <a:ext cx="1010801" cy="27748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GB" sz="1800" b="1" spc="110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5" name="TextBox 5">
            <a:extLst>
              <a:ext uri="{FF2B5EF4-FFF2-40B4-BE49-F238E27FC236}">
                <a16:creationId xmlns:a16="http://schemas.microsoft.com/office/drawing/2014/main" id="{0F07D440-67DE-46A1-856F-7790A47EB3FA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D44CE710-128D-4349-A72B-1D014408C2EE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7" name="Rectangle">
            <a:extLst>
              <a:ext uri="{FF2B5EF4-FFF2-40B4-BE49-F238E27FC236}">
                <a16:creationId xmlns:a16="http://schemas.microsoft.com/office/drawing/2014/main" id="{8461F384-D8E6-4289-B146-63B466698F8D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0" name="invimit_logo_white.png" descr="invimit_logo_white.png">
            <a:extLst>
              <a:ext uri="{FF2B5EF4-FFF2-40B4-BE49-F238E27FC236}">
                <a16:creationId xmlns:a16="http://schemas.microsoft.com/office/drawing/2014/main" id="{891E0EBA-3FFC-4A9C-AB0E-4F6293A5DBE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">
            <a:extLst>
              <a:ext uri="{FF2B5EF4-FFF2-40B4-BE49-F238E27FC236}">
                <a16:creationId xmlns:a16="http://schemas.microsoft.com/office/drawing/2014/main" id="{5E2B1C45-BD01-4269-8479-6BCEF7C74727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22" name="Line">
              <a:extLst>
                <a:ext uri="{FF2B5EF4-FFF2-40B4-BE49-F238E27FC236}">
                  <a16:creationId xmlns:a16="http://schemas.microsoft.com/office/drawing/2014/main" id="{58911E06-0C7B-4113-B430-20F1905D25F5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3" name="Line">
              <a:extLst>
                <a:ext uri="{FF2B5EF4-FFF2-40B4-BE49-F238E27FC236}">
                  <a16:creationId xmlns:a16="http://schemas.microsoft.com/office/drawing/2014/main" id="{9693645F-30BD-40C3-9DB6-3FA1571FA1A0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4" name="Line">
              <a:extLst>
                <a:ext uri="{FF2B5EF4-FFF2-40B4-BE49-F238E27FC236}">
                  <a16:creationId xmlns:a16="http://schemas.microsoft.com/office/drawing/2014/main" id="{57E1E1F9-BFCC-4A20-B353-EE794DB9F3FE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D7E2B26E-DB6D-4C10-AFF7-22F0D3752FFF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">
            <a:extLst>
              <a:ext uri="{FF2B5EF4-FFF2-40B4-BE49-F238E27FC236}">
                <a16:creationId xmlns:a16="http://schemas.microsoft.com/office/drawing/2014/main" id="{A9A1C4E7-5890-42E1-A9E0-33594DDB4CFD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7" name="invimit_logo_white.png" descr="invimit_logo_white.png">
            <a:extLst>
              <a:ext uri="{FF2B5EF4-FFF2-40B4-BE49-F238E27FC236}">
                <a16:creationId xmlns:a16="http://schemas.microsoft.com/office/drawing/2014/main" id="{3A491F74-FC28-4732-B8D2-D9283263F0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TextBox 13">
            <a:extLst>
              <a:ext uri="{FF2B5EF4-FFF2-40B4-BE49-F238E27FC236}">
                <a16:creationId xmlns:a16="http://schemas.microsoft.com/office/drawing/2014/main" id="{452ADB2D-835D-4318-864C-AF6AB625C6C7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29" name="TextBox 9">
            <a:extLst>
              <a:ext uri="{FF2B5EF4-FFF2-40B4-BE49-F238E27FC236}">
                <a16:creationId xmlns:a16="http://schemas.microsoft.com/office/drawing/2014/main" id="{E5202D84-926D-4C6C-A97D-32BCC59FF419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446545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074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3388" y="7327830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latin typeface="+mn-lt"/>
              </a:rPr>
              <a:t>Strictly private and confidentia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560956" y="2342434"/>
            <a:ext cx="4695882" cy="4404850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60956" y="1835673"/>
            <a:ext cx="4695882" cy="46372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3980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33388" y="349990"/>
            <a:ext cx="9823450" cy="36827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33389" y="2342434"/>
            <a:ext cx="4688646" cy="4404850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33385" y="1835673"/>
            <a:ext cx="4688649" cy="463729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9568575" y="7095"/>
            <a:ext cx="1010801" cy="27748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GB" sz="1800" b="1" spc="110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5" name="TextBox 5">
            <a:extLst>
              <a:ext uri="{FF2B5EF4-FFF2-40B4-BE49-F238E27FC236}">
                <a16:creationId xmlns:a16="http://schemas.microsoft.com/office/drawing/2014/main" id="{D62BCA97-2360-4298-A06C-CF189149A61A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DF6C0D93-F22D-4445-9A26-FBF19831B28F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7" name="Rectangle">
            <a:extLst>
              <a:ext uri="{FF2B5EF4-FFF2-40B4-BE49-F238E27FC236}">
                <a16:creationId xmlns:a16="http://schemas.microsoft.com/office/drawing/2014/main" id="{E9C3D0D0-1425-426D-92E5-70442AEA3A5B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9" name="invimit_logo_white.png" descr="invimit_logo_white.png">
            <a:extLst>
              <a:ext uri="{FF2B5EF4-FFF2-40B4-BE49-F238E27FC236}">
                <a16:creationId xmlns:a16="http://schemas.microsoft.com/office/drawing/2014/main" id="{718A15D6-375D-49DB-B4A7-46C3A7BED6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" name="Group">
            <a:extLst>
              <a:ext uri="{FF2B5EF4-FFF2-40B4-BE49-F238E27FC236}">
                <a16:creationId xmlns:a16="http://schemas.microsoft.com/office/drawing/2014/main" id="{596DCA5A-E1BD-43B3-AFBC-9692732DCCD1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22" name="Line">
              <a:extLst>
                <a:ext uri="{FF2B5EF4-FFF2-40B4-BE49-F238E27FC236}">
                  <a16:creationId xmlns:a16="http://schemas.microsoft.com/office/drawing/2014/main" id="{5E799C03-3931-4912-B640-1DBD83238DF3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3" name="Line">
              <a:extLst>
                <a:ext uri="{FF2B5EF4-FFF2-40B4-BE49-F238E27FC236}">
                  <a16:creationId xmlns:a16="http://schemas.microsoft.com/office/drawing/2014/main" id="{95916CC2-428A-4F91-B9BE-0F2054C32ED0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4" name="Line">
              <a:extLst>
                <a:ext uri="{FF2B5EF4-FFF2-40B4-BE49-F238E27FC236}">
                  <a16:creationId xmlns:a16="http://schemas.microsoft.com/office/drawing/2014/main" id="{57A6E973-CD85-46B1-AC5A-7F553F676133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5" name="Connettore diritto 24">
            <a:extLst>
              <a:ext uri="{FF2B5EF4-FFF2-40B4-BE49-F238E27FC236}">
                <a16:creationId xmlns:a16="http://schemas.microsoft.com/office/drawing/2014/main" id="{C7D13174-6E0E-4C4F-A00A-CF56EF52CE56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">
            <a:extLst>
              <a:ext uri="{FF2B5EF4-FFF2-40B4-BE49-F238E27FC236}">
                <a16:creationId xmlns:a16="http://schemas.microsoft.com/office/drawing/2014/main" id="{2F29E70D-D21C-40B1-9EF2-552D53BEEB85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7" name="invimit_logo_white.png" descr="invimit_logo_white.png">
            <a:extLst>
              <a:ext uri="{FF2B5EF4-FFF2-40B4-BE49-F238E27FC236}">
                <a16:creationId xmlns:a16="http://schemas.microsoft.com/office/drawing/2014/main" id="{98923734-82C3-4E7A-B09F-4A355C38D5D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TextBox 13">
            <a:extLst>
              <a:ext uri="{FF2B5EF4-FFF2-40B4-BE49-F238E27FC236}">
                <a16:creationId xmlns:a16="http://schemas.microsoft.com/office/drawing/2014/main" id="{7545E452-8D4B-4816-A6D6-D4EB9E80A675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29" name="TextBox 9">
            <a:extLst>
              <a:ext uri="{FF2B5EF4-FFF2-40B4-BE49-F238E27FC236}">
                <a16:creationId xmlns:a16="http://schemas.microsoft.com/office/drawing/2014/main" id="{A37545FA-1FD1-4B47-A7FC-F160059C3FE4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262333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EB0CADE0-DB2D-4F1F-A9F5-9FC6DFAFD9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9632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EB0CADE0-DB2D-4F1F-A9F5-9FC6DFAFD9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EB6F9B65-52EE-4D1E-B985-CBDC9750B52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33384" y="349990"/>
            <a:ext cx="9823449" cy="36828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33389" y="1835675"/>
            <a:ext cx="3917486" cy="5199027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79704" y="1874176"/>
            <a:ext cx="5477134" cy="5160528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3388" y="7327830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latin typeface="+mn-lt"/>
              </a:rPr>
              <a:t>Strictly private and confidential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F0C210F5-4989-43A4-B1C3-AD733AF2E2F7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26C8EA0C-34F7-4CF6-8B1F-75B339F773AE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5" name="Rectangle">
            <a:extLst>
              <a:ext uri="{FF2B5EF4-FFF2-40B4-BE49-F238E27FC236}">
                <a16:creationId xmlns:a16="http://schemas.microsoft.com/office/drawing/2014/main" id="{40C9F2F5-30D1-4795-A4C1-7DBB67A6339A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6" name="invimit_logo_white.png" descr="invimit_logo_white.png">
            <a:extLst>
              <a:ext uri="{FF2B5EF4-FFF2-40B4-BE49-F238E27FC236}">
                <a16:creationId xmlns:a16="http://schemas.microsoft.com/office/drawing/2014/main" id="{2F79C889-F257-4FD8-8660-FDC9A752EC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7" name="Group">
            <a:extLst>
              <a:ext uri="{FF2B5EF4-FFF2-40B4-BE49-F238E27FC236}">
                <a16:creationId xmlns:a16="http://schemas.microsoft.com/office/drawing/2014/main" id="{29B5AC8E-612D-4724-B3AF-E823D010AAAA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18" name="Line">
              <a:extLst>
                <a:ext uri="{FF2B5EF4-FFF2-40B4-BE49-F238E27FC236}">
                  <a16:creationId xmlns:a16="http://schemas.microsoft.com/office/drawing/2014/main" id="{CDC65236-D294-4D5C-95DD-38F019F2B5E0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9" name="Line">
              <a:extLst>
                <a:ext uri="{FF2B5EF4-FFF2-40B4-BE49-F238E27FC236}">
                  <a16:creationId xmlns:a16="http://schemas.microsoft.com/office/drawing/2014/main" id="{E95A0AD4-199B-46CF-B551-40BCF305CD38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0" name="Line">
              <a:extLst>
                <a:ext uri="{FF2B5EF4-FFF2-40B4-BE49-F238E27FC236}">
                  <a16:creationId xmlns:a16="http://schemas.microsoft.com/office/drawing/2014/main" id="{77084389-44E3-43BF-97C8-4FF928882A6D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1" name="Connettore diritto 20">
            <a:extLst>
              <a:ext uri="{FF2B5EF4-FFF2-40B4-BE49-F238E27FC236}">
                <a16:creationId xmlns:a16="http://schemas.microsoft.com/office/drawing/2014/main" id="{20F2E8E6-FC4A-47FF-98B6-55FFCC58F021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">
            <a:extLst>
              <a:ext uri="{FF2B5EF4-FFF2-40B4-BE49-F238E27FC236}">
                <a16:creationId xmlns:a16="http://schemas.microsoft.com/office/drawing/2014/main" id="{CB0D55B1-2BAD-497D-9B28-5D1B8835B1ED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3" name="invimit_logo_white.png" descr="invimit_logo_white.png">
            <a:extLst>
              <a:ext uri="{FF2B5EF4-FFF2-40B4-BE49-F238E27FC236}">
                <a16:creationId xmlns:a16="http://schemas.microsoft.com/office/drawing/2014/main" id="{06E83D0C-F14A-443E-9710-A173EFEDDF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TextBox 13">
            <a:extLst>
              <a:ext uri="{FF2B5EF4-FFF2-40B4-BE49-F238E27FC236}">
                <a16:creationId xmlns:a16="http://schemas.microsoft.com/office/drawing/2014/main" id="{22E0F6DC-176B-4A12-8440-09055B9DE6FB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25" name="TextBox 9">
            <a:extLst>
              <a:ext uri="{FF2B5EF4-FFF2-40B4-BE49-F238E27FC236}">
                <a16:creationId xmlns:a16="http://schemas.microsoft.com/office/drawing/2014/main" id="{DD5BFCBB-A5EE-4F4B-B9E5-CE5ACA92CC5F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525954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41262FB7-9F31-4942-B213-DE254DF2FD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108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41262FB7-9F31-4942-B213-DE254DF2F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634EC575-DD36-44DD-8E24-810543C178C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33392" y="349987"/>
            <a:ext cx="9823451" cy="368284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645448" y="1828388"/>
            <a:ext cx="3611390" cy="52063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448137" algn="r"/>
              </a:tabLst>
              <a:defRPr sz="2383">
                <a:solidFill>
                  <a:schemeClr val="accent3"/>
                </a:solidFill>
              </a:defRPr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33388" y="1835672"/>
            <a:ext cx="5712303" cy="5199026"/>
          </a:xfrm>
          <a:prstGeom prst="rect">
            <a:avLst/>
          </a:prstGeom>
        </p:spPr>
        <p:txBody>
          <a:bodyPr/>
          <a:lstStyle>
            <a:lvl1pPr>
              <a:tabLst>
                <a:tab pos="5448137" algn="r"/>
              </a:tabLst>
              <a:defRPr/>
            </a:lvl1pPr>
            <a:lvl2pPr>
              <a:tabLst>
                <a:tab pos="5448137" algn="r"/>
              </a:tabLst>
              <a:defRPr/>
            </a:lvl2pPr>
            <a:lvl3pPr>
              <a:tabLst>
                <a:tab pos="5448137" algn="r"/>
              </a:tabLst>
              <a:defRPr/>
            </a:lvl3pPr>
            <a:lvl4pPr>
              <a:tabLst>
                <a:tab pos="5448137" algn="r"/>
              </a:tabLst>
              <a:defRPr/>
            </a:lvl4pPr>
            <a:lvl5pPr>
              <a:tabLst>
                <a:tab pos="5448137" algn="r"/>
              </a:tabLst>
              <a:defRPr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3389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3388" y="7327830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latin typeface="+mn-lt"/>
              </a:rPr>
              <a:t>Strictly private and confidential</a:t>
            </a: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6FEBF1EB-1EDF-4D02-A1FF-18117CE4571A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4851F11-9E87-40DD-B4C2-8F8CFF74A200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Rectangle">
            <a:extLst>
              <a:ext uri="{FF2B5EF4-FFF2-40B4-BE49-F238E27FC236}">
                <a16:creationId xmlns:a16="http://schemas.microsoft.com/office/drawing/2014/main" id="{74F9686D-70E4-4320-B3ED-8DD950EDAC2A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6" name="invimit_logo_white.png" descr="invimit_logo_white.png">
            <a:extLst>
              <a:ext uri="{FF2B5EF4-FFF2-40B4-BE49-F238E27FC236}">
                <a16:creationId xmlns:a16="http://schemas.microsoft.com/office/drawing/2014/main" id="{D29010CA-4CFA-4AE0-BB18-62E7B84F73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7" name="Group">
            <a:extLst>
              <a:ext uri="{FF2B5EF4-FFF2-40B4-BE49-F238E27FC236}">
                <a16:creationId xmlns:a16="http://schemas.microsoft.com/office/drawing/2014/main" id="{7DF98A15-EB12-4299-A62B-D7E9BB04E8E6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18" name="Line">
              <a:extLst>
                <a:ext uri="{FF2B5EF4-FFF2-40B4-BE49-F238E27FC236}">
                  <a16:creationId xmlns:a16="http://schemas.microsoft.com/office/drawing/2014/main" id="{76E68A32-4AAB-45FE-865D-6E77CD93BDC4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19" name="Line">
              <a:extLst>
                <a:ext uri="{FF2B5EF4-FFF2-40B4-BE49-F238E27FC236}">
                  <a16:creationId xmlns:a16="http://schemas.microsoft.com/office/drawing/2014/main" id="{6FDEDBFD-5950-4C83-BEE0-83648479D9B4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0" name="Line">
              <a:extLst>
                <a:ext uri="{FF2B5EF4-FFF2-40B4-BE49-F238E27FC236}">
                  <a16:creationId xmlns:a16="http://schemas.microsoft.com/office/drawing/2014/main" id="{11D22AD7-E5AD-4510-8BD5-978CAF15060C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1" name="Connettore diritto 20">
            <a:extLst>
              <a:ext uri="{FF2B5EF4-FFF2-40B4-BE49-F238E27FC236}">
                <a16:creationId xmlns:a16="http://schemas.microsoft.com/office/drawing/2014/main" id="{0E938924-0C37-4077-AA6A-978F4D2392A2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">
            <a:extLst>
              <a:ext uri="{FF2B5EF4-FFF2-40B4-BE49-F238E27FC236}">
                <a16:creationId xmlns:a16="http://schemas.microsoft.com/office/drawing/2014/main" id="{C82DEF4D-24B3-4E5D-BD80-ED7E6A712768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3" name="invimit_logo_white.png" descr="invimit_logo_white.png">
            <a:extLst>
              <a:ext uri="{FF2B5EF4-FFF2-40B4-BE49-F238E27FC236}">
                <a16:creationId xmlns:a16="http://schemas.microsoft.com/office/drawing/2014/main" id="{B0109390-659E-4937-93B7-0131B411F9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TextBox 13">
            <a:extLst>
              <a:ext uri="{FF2B5EF4-FFF2-40B4-BE49-F238E27FC236}">
                <a16:creationId xmlns:a16="http://schemas.microsoft.com/office/drawing/2014/main" id="{4F5B770D-CA9C-4D47-8508-F1A6297AD6CE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25" name="TextBox 9">
            <a:extLst>
              <a:ext uri="{FF2B5EF4-FFF2-40B4-BE49-F238E27FC236}">
                <a16:creationId xmlns:a16="http://schemas.microsoft.com/office/drawing/2014/main" id="{54037A0E-2814-403D-A34B-78FE6967932B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6" name="Immagine 25">
            <a:extLst>
              <a:ext uri="{FF2B5EF4-FFF2-40B4-BE49-F238E27FC236}">
                <a16:creationId xmlns:a16="http://schemas.microsoft.com/office/drawing/2014/main" id="{67666B04-0BE5-45A0-BC9E-F58844E5CE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126718"/>
      </p:ext>
    </p:extLst>
  </p:cSld>
  <p:clrMapOvr>
    <a:masterClrMapping/>
  </p:clrMapOvr>
  <p:transition>
    <p:fade/>
  </p:transition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8533DB9D-7DEF-4F60-924E-C58951ADC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417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15" imgH="416" progId="TCLayout.ActiveDocument.1">
                  <p:embed/>
                </p:oleObj>
              </mc:Choice>
              <mc:Fallback>
                <p:oleObj name="Diapositiva think-cell" r:id="rId4" imgW="415" imgH="41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8533DB9D-7DEF-4F60-924E-C58951ADC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85EA4AED-020A-4125-9F54-912167707D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394" y="349987"/>
            <a:ext cx="9823449" cy="368284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7101" y="1870153"/>
            <a:ext cx="2378297" cy="1388916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942302" y="1874172"/>
            <a:ext cx="2378297" cy="1388916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5394883" y="1874172"/>
            <a:ext cx="2378297" cy="1388916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885037" y="1874172"/>
            <a:ext cx="2378297" cy="1388916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3388" y="3439833"/>
            <a:ext cx="2385723" cy="3590843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1094" indent="-1910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0"/>
              </a:spcAft>
              <a:defRPr baseline="0"/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400449" y="3439834"/>
            <a:ext cx="2378297" cy="359486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1094" indent="-1910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0"/>
              </a:spcAft>
              <a:defRPr baseline="0"/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46941" y="3443858"/>
            <a:ext cx="2378297" cy="359084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1094" indent="-1910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0"/>
              </a:spcAft>
              <a:defRPr baseline="0"/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7891535" y="3439833"/>
            <a:ext cx="2365303" cy="3590843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1094" indent="-1910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86089" indent="-191094">
              <a:spcAft>
                <a:spcPts val="0"/>
              </a:spcAft>
              <a:defRPr baseline="0"/>
            </a:lvl5pPr>
            <a:lvl6pPr marL="386089" indent="-1910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86089" indent="-191094">
              <a:spcAft>
                <a:spcPts val="0"/>
              </a:spcAft>
              <a:defRPr/>
            </a:lvl7pPr>
            <a:lvl8pPr marL="386089" indent="-191094">
              <a:spcAft>
                <a:spcPts val="0"/>
              </a:spcAft>
              <a:defRPr/>
            </a:lvl8pPr>
            <a:lvl9pPr marL="386089" indent="-191094">
              <a:spcAft>
                <a:spcPts val="0"/>
              </a:spcAft>
              <a:defRPr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33388" y="718270"/>
            <a:ext cx="9823450" cy="8347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254625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6" name="TextBox 5">
            <a:extLst>
              <a:ext uri="{FF2B5EF4-FFF2-40B4-BE49-F238E27FC236}">
                <a16:creationId xmlns:a16="http://schemas.microsoft.com/office/drawing/2014/main" id="{DF6899FA-427D-4DD9-9A08-ECE18CEE92DC}"/>
              </a:ext>
            </a:extLst>
          </p:cNvPr>
          <p:cNvSpPr txBox="1"/>
          <p:nvPr userDrawn="1"/>
        </p:nvSpPr>
        <p:spPr>
          <a:xfrm>
            <a:off x="433388" y="7138988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 err="1">
                <a:latin typeface="+mn-lt"/>
              </a:rPr>
              <a:t>Strettamente</a:t>
            </a:r>
            <a:r>
              <a:rPr lang="en-GB" sz="800">
                <a:latin typeface="+mn-lt"/>
              </a:rPr>
              <a:t> </a:t>
            </a:r>
            <a:r>
              <a:rPr lang="en-GB" sz="800" err="1">
                <a:latin typeface="+mn-lt"/>
              </a:rPr>
              <a:t>riservato</a:t>
            </a:r>
            <a:r>
              <a:rPr lang="en-GB" sz="800">
                <a:latin typeface="+mn-lt"/>
              </a:rPr>
              <a:t> e </a:t>
            </a:r>
            <a:r>
              <a:rPr lang="en-GB" sz="800" err="1">
                <a:latin typeface="+mn-lt"/>
              </a:rPr>
              <a:t>confidenziale</a:t>
            </a:r>
            <a:endParaRPr lang="en-GB" sz="800">
              <a:latin typeface="+mn-lt"/>
            </a:endParaRPr>
          </a:p>
        </p:txBody>
      </p:sp>
      <p:sp>
        <p:nvSpPr>
          <p:cNvPr id="17" name="TextBox 8">
            <a:extLst>
              <a:ext uri="{FF2B5EF4-FFF2-40B4-BE49-F238E27FC236}">
                <a16:creationId xmlns:a16="http://schemas.microsoft.com/office/drawing/2014/main" id="{835993FA-0AC3-4289-9B56-AE16D250177D}"/>
              </a:ext>
            </a:extLst>
          </p:cNvPr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  <p:sp>
        <p:nvSpPr>
          <p:cNvPr id="18" name="Rectangle">
            <a:extLst>
              <a:ext uri="{FF2B5EF4-FFF2-40B4-BE49-F238E27FC236}">
                <a16:creationId xmlns:a16="http://schemas.microsoft.com/office/drawing/2014/main" id="{E6252474-FB94-4DF9-886A-7431234E652C}"/>
              </a:ext>
            </a:extLst>
          </p:cNvPr>
          <p:cNvSpPr/>
          <p:nvPr userDrawn="1"/>
        </p:nvSpPr>
        <p:spPr>
          <a:xfrm>
            <a:off x="-3143" y="-8630"/>
            <a:ext cx="10694956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19" name="invimit_logo_white.png" descr="invimit_logo_white.png">
            <a:extLst>
              <a:ext uri="{FF2B5EF4-FFF2-40B4-BE49-F238E27FC236}">
                <a16:creationId xmlns:a16="http://schemas.microsoft.com/office/drawing/2014/main" id="{47749E23-88D0-4F90-96DE-8A0A1BA56E8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77143"/>
            <a:ext cx="1276510" cy="40003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0" name="Group">
            <a:extLst>
              <a:ext uri="{FF2B5EF4-FFF2-40B4-BE49-F238E27FC236}">
                <a16:creationId xmlns:a16="http://schemas.microsoft.com/office/drawing/2014/main" id="{318457D3-4F1D-44A8-B86A-62546C26EA7D}"/>
              </a:ext>
            </a:extLst>
          </p:cNvPr>
          <p:cNvGrpSpPr/>
          <p:nvPr userDrawn="1"/>
        </p:nvGrpSpPr>
        <p:grpSpPr>
          <a:xfrm flipV="1">
            <a:off x="-3141" y="7239120"/>
            <a:ext cx="10691813" cy="365909"/>
            <a:chOff x="0" y="0"/>
            <a:chExt cx="15201810" cy="0"/>
          </a:xfrm>
          <a:effectLst/>
        </p:grpSpPr>
        <p:sp>
          <p:nvSpPr>
            <p:cNvPr id="21" name="Line">
              <a:extLst>
                <a:ext uri="{FF2B5EF4-FFF2-40B4-BE49-F238E27FC236}">
                  <a16:creationId xmlns:a16="http://schemas.microsoft.com/office/drawing/2014/main" id="{62FE4DF1-E651-4941-8233-997DF1379180}"/>
                </a:ext>
              </a:extLst>
            </p:cNvPr>
            <p:cNvSpPr/>
            <p:nvPr/>
          </p:nvSpPr>
          <p:spPr>
            <a:xfrm>
              <a:off x="10102519" y="0"/>
              <a:ext cx="5099292" cy="0"/>
            </a:xfrm>
            <a:prstGeom prst="line">
              <a:avLst/>
            </a:prstGeom>
            <a:noFill/>
            <a:ln w="88900" cap="flat">
              <a:solidFill>
                <a:srgbClr val="DC1919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2" name="Line">
              <a:extLst>
                <a:ext uri="{FF2B5EF4-FFF2-40B4-BE49-F238E27FC236}">
                  <a16:creationId xmlns:a16="http://schemas.microsoft.com/office/drawing/2014/main" id="{60AD9501-7352-42D8-B600-7B496D5C9EB1}"/>
                </a:ext>
              </a:extLst>
            </p:cNvPr>
            <p:cNvSpPr/>
            <p:nvPr/>
          </p:nvSpPr>
          <p:spPr>
            <a:xfrm>
              <a:off x="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3CB17D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  <p:sp>
          <p:nvSpPr>
            <p:cNvPr id="23" name="Line">
              <a:extLst>
                <a:ext uri="{FF2B5EF4-FFF2-40B4-BE49-F238E27FC236}">
                  <a16:creationId xmlns:a16="http://schemas.microsoft.com/office/drawing/2014/main" id="{1413F21C-00F1-44FB-B4F0-B04697C11FEB}"/>
                </a:ext>
              </a:extLst>
            </p:cNvPr>
            <p:cNvSpPr/>
            <p:nvPr/>
          </p:nvSpPr>
          <p:spPr>
            <a:xfrm>
              <a:off x="5055970" y="0"/>
              <a:ext cx="5099291" cy="0"/>
            </a:xfrm>
            <a:prstGeom prst="line">
              <a:avLst/>
            </a:prstGeom>
            <a:noFill/>
            <a:ln w="889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59035" tIns="59035" rIns="59035" bIns="59035" numCol="1" anchor="ctr">
              <a:noAutofit/>
            </a:bodyPr>
            <a:lstStyle/>
            <a:p>
              <a:pPr>
                <a:defRPr sz="48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lang="en-GB" sz="2178"/>
            </a:p>
          </p:txBody>
        </p:sp>
      </p:grpSp>
      <p:cxnSp>
        <p:nvCxnSpPr>
          <p:cNvPr id="24" name="Connettore diritto 23">
            <a:extLst>
              <a:ext uri="{FF2B5EF4-FFF2-40B4-BE49-F238E27FC236}">
                <a16:creationId xmlns:a16="http://schemas.microsoft.com/office/drawing/2014/main" id="{3909C2A2-8242-480E-88A0-FB376E59AB93}"/>
              </a:ext>
            </a:extLst>
          </p:cNvPr>
          <p:cNvCxnSpPr>
            <a:cxnSpLocks/>
          </p:cNvCxnSpPr>
          <p:nvPr userDrawn="1"/>
        </p:nvCxnSpPr>
        <p:spPr>
          <a:xfrm>
            <a:off x="-3141" y="6783318"/>
            <a:ext cx="1069181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">
            <a:extLst>
              <a:ext uri="{FF2B5EF4-FFF2-40B4-BE49-F238E27FC236}">
                <a16:creationId xmlns:a16="http://schemas.microsoft.com/office/drawing/2014/main" id="{B7CEF017-EA09-45C5-9E32-EFFD59F5DB09}"/>
              </a:ext>
            </a:extLst>
          </p:cNvPr>
          <p:cNvSpPr/>
          <p:nvPr userDrawn="1"/>
        </p:nvSpPr>
        <p:spPr>
          <a:xfrm>
            <a:off x="0" y="6716829"/>
            <a:ext cx="10691813" cy="864880"/>
          </a:xfrm>
          <a:prstGeom prst="rect">
            <a:avLst/>
          </a:prstGeom>
          <a:gradFill>
            <a:gsLst>
              <a:gs pos="100000">
                <a:srgbClr val="0076B6"/>
              </a:gs>
              <a:gs pos="0">
                <a:srgbClr val="002C4C"/>
              </a:gs>
            </a:gsLst>
            <a:lin ang="2700000" scaled="0"/>
          </a:gra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48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lang="en-GB" sz="2178"/>
          </a:p>
        </p:txBody>
      </p:sp>
      <p:pic>
        <p:nvPicPr>
          <p:cNvPr id="26" name="invimit_logo_white.png" descr="invimit_logo_white.png">
            <a:extLst>
              <a:ext uri="{FF2B5EF4-FFF2-40B4-BE49-F238E27FC236}">
                <a16:creationId xmlns:a16="http://schemas.microsoft.com/office/drawing/2014/main" id="{1DC942F4-B44D-4B14-A182-20F39683CC2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432" y="6925980"/>
            <a:ext cx="1276510" cy="400032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TextBox 13">
            <a:extLst>
              <a:ext uri="{FF2B5EF4-FFF2-40B4-BE49-F238E27FC236}">
                <a16:creationId xmlns:a16="http://schemas.microsoft.com/office/drawing/2014/main" id="{82B9915D-F5C2-4138-A008-E8E7DDB48599}"/>
              </a:ext>
            </a:extLst>
          </p:cNvPr>
          <p:cNvSpPr txBox="1"/>
          <p:nvPr userDrawn="1"/>
        </p:nvSpPr>
        <p:spPr>
          <a:xfrm>
            <a:off x="5774227" y="7326012"/>
            <a:ext cx="4695825" cy="217487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GB" sz="800">
                <a:solidFill>
                  <a:schemeClr val="bg1"/>
                </a:solidFill>
                <a:latin typeface="+mn-lt"/>
              </a:rPr>
              <a:t>Strictly private and confidential</a:t>
            </a: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10E0A806-BC3B-47E7-8C3C-80EDBBFA0779}"/>
              </a:ext>
            </a:extLst>
          </p:cNvPr>
          <p:cNvSpPr txBox="1"/>
          <p:nvPr userDrawn="1"/>
        </p:nvSpPr>
        <p:spPr>
          <a:xfrm>
            <a:off x="5230568" y="738374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1000" smtClean="0">
                <a:solidFill>
                  <a:schemeClr val="bg1"/>
                </a:solidFill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10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9" name="Immagine 28">
            <a:extLst>
              <a:ext uri="{FF2B5EF4-FFF2-40B4-BE49-F238E27FC236}">
                <a16:creationId xmlns:a16="http://schemas.microsoft.com/office/drawing/2014/main" id="{D0827A60-5AEB-47DE-B1CA-6D519C9C127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21761" y="7075321"/>
            <a:ext cx="679132" cy="2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70820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137876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4" imgW="360" imgH="360" progId="TCLayout.ActiveDocument.1">
                  <p:embed/>
                </p:oleObj>
              </mc:Choice>
              <mc:Fallback>
                <p:oleObj name="Diapositiva think-cell" r:id="rId24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angle 1" hidden="1"/>
          <p:cNvSpPr/>
          <p:nvPr userDrawn="1">
            <p:custDataLst>
              <p:tags r:id="rId2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marL="0" lvl="0" indent="0" algn="ctr" eaLnBrk="0">
              <a:lnSpc>
                <a:spcPct val="106000"/>
              </a:lnSpc>
              <a:buFont typeface="Wingdings 2" pitchFamily="18" charset="2"/>
              <a:buNone/>
            </a:pPr>
            <a:endParaRPr lang="en-GB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433388" y="349250"/>
            <a:ext cx="982345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it-IT"/>
              <a:t>Click to edit Master title style</a:t>
            </a:r>
          </a:p>
        </p:txBody>
      </p:sp>
      <p:sp>
        <p:nvSpPr>
          <p:cNvPr id="1029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433388" y="1835150"/>
            <a:ext cx="9823450" cy="519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it-IT"/>
              <a:t>Click to edit Master text styles</a:t>
            </a:r>
          </a:p>
          <a:p>
            <a:pPr lvl="1"/>
            <a:r>
              <a:rPr lang="en-GB" altLang="it-IT"/>
              <a:t>Second level</a:t>
            </a:r>
          </a:p>
          <a:p>
            <a:pPr lvl="2"/>
            <a:r>
              <a:rPr lang="en-GB" altLang="it-IT"/>
              <a:t>Third level</a:t>
            </a:r>
          </a:p>
          <a:p>
            <a:pPr lvl="3"/>
            <a:r>
              <a:rPr lang="en-GB" altLang="it-IT"/>
              <a:t>Fourth level</a:t>
            </a:r>
          </a:p>
          <a:p>
            <a:pPr lvl="4"/>
            <a:r>
              <a:rPr lang="en-GB" altLang="it-IT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86963" y="7138988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endParaRPr lang="en-GB" sz="704"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568575" y="7095"/>
            <a:ext cx="1010801" cy="27748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indent="0" algn="ctr">
              <a:spcBef>
                <a:spcPts val="0"/>
              </a:spcBef>
              <a:buSzPct val="100000"/>
              <a:buFont typeface="Arial"/>
              <a:buNone/>
            </a:pPr>
            <a:r>
              <a:rPr lang="en-GB" sz="1800" b="1" spc="110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254625" y="7319746"/>
            <a:ext cx="269875" cy="10795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defTabSz="787481" eaLnBrk="1" fontAlgn="auto" hangingPunct="1">
              <a:spcBef>
                <a:spcPts val="65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AB2CD72-58B8-47CD-8D85-A8DB7911226D}" type="slidenum">
              <a:rPr lang="en-GB" sz="704" smtClean="0">
                <a:latin typeface="+mn-lt"/>
              </a:rPr>
              <a:pPr algn="r" defTabSz="787481" eaLnBrk="1" fontAlgn="auto" hangingPunct="1">
                <a:spcBef>
                  <a:spcPts val="65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N›</a:t>
            </a:fld>
            <a:endParaRPr lang="en-GB" sz="704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4" r:id="rId1"/>
    <p:sldLayoutId id="2147484172" r:id="rId2"/>
    <p:sldLayoutId id="2147484162" r:id="rId3"/>
    <p:sldLayoutId id="2147484163" r:id="rId4"/>
    <p:sldLayoutId id="2147484180" r:id="rId5"/>
    <p:sldLayoutId id="2147484179" r:id="rId6"/>
    <p:sldLayoutId id="2147484164" r:id="rId7"/>
    <p:sldLayoutId id="2147484165" r:id="rId8"/>
    <p:sldLayoutId id="2147484166" r:id="rId9"/>
    <p:sldLayoutId id="2147484174" r:id="rId10"/>
    <p:sldLayoutId id="2147484167" r:id="rId11"/>
    <p:sldLayoutId id="2147484168" r:id="rId12"/>
    <p:sldLayoutId id="2147484175" r:id="rId13"/>
    <p:sldLayoutId id="2147484176" r:id="rId14"/>
    <p:sldLayoutId id="2147484177" r:id="rId15"/>
    <p:sldLayoutId id="2147484169" r:id="rId16"/>
    <p:sldLayoutId id="2147484170" r:id="rId17"/>
    <p:sldLayoutId id="2147484171" r:id="rId18"/>
    <p:sldLayoutId id="2147484187" r:id="rId19"/>
  </p:sldLayoutIdLst>
  <p:transition>
    <p:fade/>
  </p:transition>
  <p:hf hdr="0" ftr="0" dt="0"/>
  <p:txStyles>
    <p:titleStyle>
      <a:lvl1pPr algn="l" defTabSz="989013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890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defTabSz="9890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defTabSz="9890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defTabSz="9890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defTabSz="9890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defTabSz="9890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defTabSz="9890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defTabSz="9890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defTabSz="989013" rtl="0" eaLnBrk="0" fontAlgn="base" hangingPunct="0">
        <a:spcBef>
          <a:spcPct val="0"/>
        </a:spcBef>
        <a:spcAft>
          <a:spcPts val="1088"/>
        </a:spcAft>
        <a:buSzPct val="100000"/>
        <a:buFont typeface="Arial" panose="020B0604020202020204" pitchFamily="34" charset="0"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algn="l" defTabSz="989013" rtl="0" eaLnBrk="0" fontAlgn="base" hangingPunct="0">
        <a:spcBef>
          <a:spcPct val="0"/>
        </a:spcBef>
        <a:spcAft>
          <a:spcPts val="1088"/>
        </a:spcAft>
        <a:buSzPct val="100000"/>
        <a:buFont typeface="Arial" panose="020B0604020202020204" pitchFamily="34" charset="0"/>
        <a:defRPr lang="en-US" sz="100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90500" indent="-190500" algn="l" defTabSz="989013" rtl="0" eaLnBrk="0" fontAlgn="base" hangingPunct="0">
        <a:spcBef>
          <a:spcPct val="0"/>
        </a:spcBef>
        <a:spcAft>
          <a:spcPts val="1088"/>
        </a:spcAft>
        <a:buSzPct val="100000"/>
        <a:buFont typeface="Arial" panose="020B0604020202020204" pitchFamily="34" charset="0"/>
        <a:buChar char="•"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385763" indent="-190500" algn="l" defTabSz="989013" rtl="0" eaLnBrk="0" fontAlgn="base" hangingPunct="0">
        <a:spcBef>
          <a:spcPct val="0"/>
        </a:spcBef>
        <a:spcAft>
          <a:spcPts val="1088"/>
        </a:spcAft>
        <a:buSzPct val="100000"/>
        <a:buFont typeface="Verdana" panose="020B0604030504040204" pitchFamily="34" charset="0"/>
        <a:buChar char="−"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76263" indent="-190500" algn="l" defTabSz="863600" rtl="0" eaLnBrk="0" fontAlgn="base" hangingPunct="0">
        <a:spcBef>
          <a:spcPct val="0"/>
        </a:spcBef>
        <a:spcAft>
          <a:spcPts val="1088"/>
        </a:spcAft>
        <a:buSzPct val="100000"/>
        <a:buFont typeface="Verdana" panose="020B0604030504040204" pitchFamily="34" charset="0"/>
        <a:buChar char="−"/>
        <a:defRPr lang="en-US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82" indent="-191094" algn="l" defTabSz="990571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40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6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5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81" algn="l" defTabSz="990571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ggetto 13" hidden="1">
            <a:extLst>
              <a:ext uri="{FF2B5EF4-FFF2-40B4-BE49-F238E27FC236}">
                <a16:creationId xmlns:a16="http://schemas.microsoft.com/office/drawing/2014/main" id="{A22712E5-610E-4844-90AC-096ED64B31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95" imgH="394" progId="TCLayout.ActiveDocument.1">
                  <p:embed/>
                </p:oleObj>
              </mc:Choice>
              <mc:Fallback>
                <p:oleObj name="Diapositiva think-cell" r:id="rId5" imgW="395" imgH="394" progId="TCLayout.ActiveDocument.1">
                  <p:embed/>
                  <p:pic>
                    <p:nvPicPr>
                      <p:cNvPr id="14" name="Oggetto 13" hidden="1">
                        <a:extLst>
                          <a:ext uri="{FF2B5EF4-FFF2-40B4-BE49-F238E27FC236}">
                            <a16:creationId xmlns:a16="http://schemas.microsoft.com/office/drawing/2014/main" id="{A22712E5-610E-4844-90AC-096ED64B3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 hidden="1">
            <a:extLst>
              <a:ext uri="{FF2B5EF4-FFF2-40B4-BE49-F238E27FC236}">
                <a16:creationId xmlns:a16="http://schemas.microsoft.com/office/drawing/2014/main" id="{8AF8276D-C240-4B9A-AD91-8741285A907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lang="it-IT" sz="2000" b="1">
              <a:solidFill>
                <a:schemeClr val="bg1"/>
              </a:solidFill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6337432-9FF4-4313-9834-244B5AF14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098" y="280699"/>
            <a:ext cx="9823451" cy="368284"/>
          </a:xfrm>
        </p:spPr>
        <p:txBody>
          <a:bodyPr/>
          <a:lstStyle/>
          <a:p>
            <a:r>
              <a:rPr lang="it-IT" b="1" dirty="0">
                <a:solidFill>
                  <a:schemeClr val="bg1"/>
                </a:solidFill>
              </a:rPr>
              <a:t>Nuovo modello organizzativo</a:t>
            </a:r>
            <a:endParaRPr lang="en-GB" b="1" dirty="0">
              <a:solidFill>
                <a:schemeClr val="bg1"/>
              </a:solidFill>
            </a:endParaRPr>
          </a:p>
        </p:txBody>
      </p:sp>
      <p:cxnSp>
        <p:nvCxnSpPr>
          <p:cNvPr id="366" name="Connettore 1 21">
            <a:extLst>
              <a:ext uri="{FF2B5EF4-FFF2-40B4-BE49-F238E27FC236}">
                <a16:creationId xmlns:a16="http://schemas.microsoft.com/office/drawing/2014/main" id="{6A2DE1DD-0C50-44AB-8350-3D451F1797D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59657" y="1221534"/>
            <a:ext cx="10221653" cy="0"/>
          </a:xfrm>
          <a:prstGeom prst="line">
            <a:avLst/>
          </a:prstGeom>
          <a:noFill/>
          <a:ln w="12700" algn="ctr">
            <a:solidFill>
              <a:srgbClr val="74BBF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7" name="Connettore 1 21">
            <a:extLst>
              <a:ext uri="{FF2B5EF4-FFF2-40B4-BE49-F238E27FC236}">
                <a16:creationId xmlns:a16="http://schemas.microsoft.com/office/drawing/2014/main" id="{398E0659-6A59-4907-B423-E227D54E622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59657" y="874878"/>
            <a:ext cx="10221653" cy="0"/>
          </a:xfrm>
          <a:prstGeom prst="line">
            <a:avLst/>
          </a:prstGeom>
          <a:noFill/>
          <a:ln w="12700" algn="ctr">
            <a:solidFill>
              <a:srgbClr val="74BBF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" name="Gruppo 1">
            <a:extLst>
              <a:ext uri="{FF2B5EF4-FFF2-40B4-BE49-F238E27FC236}">
                <a16:creationId xmlns:a16="http://schemas.microsoft.com/office/drawing/2014/main" id="{3FC3DD8E-C75F-4557-8464-26CB8687A0CE}"/>
              </a:ext>
            </a:extLst>
          </p:cNvPr>
          <p:cNvGrpSpPr/>
          <p:nvPr/>
        </p:nvGrpSpPr>
        <p:grpSpPr>
          <a:xfrm>
            <a:off x="738978" y="1398134"/>
            <a:ext cx="6726829" cy="4518572"/>
            <a:chOff x="738978" y="1398133"/>
            <a:chExt cx="8361231" cy="5279157"/>
          </a:xfrm>
        </p:grpSpPr>
        <p:cxnSp>
          <p:nvCxnSpPr>
            <p:cNvPr id="50" name="Straight Connector 138">
              <a:extLst>
                <a:ext uri="{FF2B5EF4-FFF2-40B4-BE49-F238E27FC236}">
                  <a16:creationId xmlns:a16="http://schemas.microsoft.com/office/drawing/2014/main" id="{6EF7127F-0BCD-4205-BF45-2A6171860426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3636597" y="3687832"/>
              <a:ext cx="3048159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10">
              <a:extLst>
                <a:ext uri="{FF2B5EF4-FFF2-40B4-BE49-F238E27FC236}">
                  <a16:creationId xmlns:a16="http://schemas.microsoft.com/office/drawing/2014/main" id="{B51C252E-D9BB-4D3F-8FFC-D61975BC79B8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6001819" y="1710591"/>
              <a:ext cx="1686082" cy="12700"/>
            </a:xfrm>
            <a:prstGeom prst="bentConnector3">
              <a:avLst>
                <a:gd name="adj1" fmla="val 102853"/>
              </a:avLst>
            </a:prstGeom>
            <a:ln w="19050"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10">
              <a:extLst>
                <a:ext uri="{FF2B5EF4-FFF2-40B4-BE49-F238E27FC236}">
                  <a16:creationId xmlns:a16="http://schemas.microsoft.com/office/drawing/2014/main" id="{07A582ED-FA3B-481C-A3E1-F884C47B38B3}"/>
                </a:ext>
              </a:extLst>
            </p:cNvPr>
            <p:cNvCxnSpPr>
              <a:cxnSpLocks/>
              <a:stCxn id="64" idx="1"/>
            </p:cNvCxnSpPr>
            <p:nvPr/>
          </p:nvCxnSpPr>
          <p:spPr>
            <a:xfrm rot="10800000">
              <a:off x="2548269" y="1705422"/>
              <a:ext cx="1686082" cy="12700"/>
            </a:xfrm>
            <a:prstGeom prst="bentConnector3">
              <a:avLst>
                <a:gd name="adj1" fmla="val 102853"/>
              </a:avLst>
            </a:prstGeom>
            <a:ln w="19050">
              <a:solidFill>
                <a:schemeClr val="tx1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94">
              <a:extLst>
                <a:ext uri="{FF2B5EF4-FFF2-40B4-BE49-F238E27FC236}">
                  <a16:creationId xmlns:a16="http://schemas.microsoft.com/office/drawing/2014/main" id="{818E2CAF-CC66-4CCE-AE61-298FC741E23E}"/>
                </a:ext>
              </a:extLst>
            </p:cNvPr>
            <p:cNvCxnSpPr/>
            <p:nvPr/>
          </p:nvCxnSpPr>
          <p:spPr bwMode="auto">
            <a:xfrm>
              <a:off x="6202068" y="3156316"/>
              <a:ext cx="0" cy="757238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98">
              <a:extLst>
                <a:ext uri="{FF2B5EF4-FFF2-40B4-BE49-F238E27FC236}">
                  <a16:creationId xmlns:a16="http://schemas.microsoft.com/office/drawing/2014/main" id="{68ACA771-3B9F-47E0-9FA3-D3A799CBF613}"/>
                </a:ext>
              </a:extLst>
            </p:cNvPr>
            <p:cNvCxnSpPr/>
            <p:nvPr/>
          </p:nvCxnSpPr>
          <p:spPr bwMode="auto">
            <a:xfrm>
              <a:off x="6206831" y="3526204"/>
              <a:ext cx="6477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Rectangle 99">
              <a:extLst>
                <a:ext uri="{FF2B5EF4-FFF2-40B4-BE49-F238E27FC236}">
                  <a16:creationId xmlns:a16="http://schemas.microsoft.com/office/drawing/2014/main" id="{72EFB56F-A048-4634-91D2-FE492E75712C}"/>
                </a:ext>
              </a:extLst>
            </p:cNvPr>
            <p:cNvSpPr/>
            <p:nvPr/>
          </p:nvSpPr>
          <p:spPr bwMode="auto">
            <a:xfrm>
              <a:off x="6367803" y="3288078"/>
              <a:ext cx="1620000" cy="540000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tx1"/>
              </a:solidFill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algn="ctr">
                <a:spcBef>
                  <a:spcPts val="600"/>
                </a:spcBef>
                <a:defRPr/>
              </a:pPr>
              <a:r>
                <a:rPr lang="it-IT" sz="1100" kern="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Comunicazione</a:t>
              </a:r>
              <a:endParaRPr lang="it-IT" sz="800" kern="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59" name="Rectangle 118">
              <a:extLst>
                <a:ext uri="{FF2B5EF4-FFF2-40B4-BE49-F238E27FC236}">
                  <a16:creationId xmlns:a16="http://schemas.microsoft.com/office/drawing/2014/main" id="{543C3128-9C0D-42C1-B76B-10D36CF56AC4}"/>
                </a:ext>
              </a:extLst>
            </p:cNvPr>
            <p:cNvSpPr/>
            <p:nvPr/>
          </p:nvSpPr>
          <p:spPr bwMode="auto">
            <a:xfrm>
              <a:off x="1075963" y="1398133"/>
              <a:ext cx="1620000" cy="540000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4">
                  <a:lumMod val="50000"/>
                </a:schemeClr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600"/>
                </a:spcBef>
                <a:defRPr/>
              </a:pPr>
              <a:r>
                <a:rPr lang="it-IT" sz="1100" kern="0" dirty="0"/>
                <a:t>Organismo di vigilanza</a:t>
              </a:r>
            </a:p>
          </p:txBody>
        </p:sp>
        <p:sp>
          <p:nvSpPr>
            <p:cNvPr id="60" name="Rectangle 123">
              <a:extLst>
                <a:ext uri="{FF2B5EF4-FFF2-40B4-BE49-F238E27FC236}">
                  <a16:creationId xmlns:a16="http://schemas.microsoft.com/office/drawing/2014/main" id="{835408E1-4DBF-405D-9771-CC57710165C5}"/>
                </a:ext>
              </a:extLst>
            </p:cNvPr>
            <p:cNvSpPr/>
            <p:nvPr/>
          </p:nvSpPr>
          <p:spPr bwMode="auto">
            <a:xfrm>
              <a:off x="1075963" y="2270732"/>
              <a:ext cx="1620000" cy="540000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4">
                  <a:lumMod val="50000"/>
                </a:schemeClr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1100" kern="0"/>
                <a:t>Revisione interna</a:t>
              </a:r>
            </a:p>
          </p:txBody>
        </p:sp>
        <p:sp>
          <p:nvSpPr>
            <p:cNvPr id="61" name="Rectangle 124">
              <a:extLst>
                <a:ext uri="{FF2B5EF4-FFF2-40B4-BE49-F238E27FC236}">
                  <a16:creationId xmlns:a16="http://schemas.microsoft.com/office/drawing/2014/main" id="{2A68A433-7E64-40FB-90FA-EF76292CF2BE}"/>
                </a:ext>
              </a:extLst>
            </p:cNvPr>
            <p:cNvSpPr/>
            <p:nvPr/>
          </p:nvSpPr>
          <p:spPr bwMode="auto">
            <a:xfrm>
              <a:off x="1075963" y="2969771"/>
              <a:ext cx="1620000" cy="790957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4">
                  <a:lumMod val="50000"/>
                </a:schemeClr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1100" kern="0" dirty="0"/>
                <a:t>Anticorruzione Trasparenza, Compliance </a:t>
              </a:r>
              <a:r>
                <a:rPr lang="it-IT" sz="1100" kern="0" dirty="0" err="1"/>
                <a:t>Antiricicl</a:t>
              </a:r>
              <a:r>
                <a:rPr lang="it-IT" sz="1100" kern="0" dirty="0"/>
                <a:t>.</a:t>
              </a:r>
            </a:p>
          </p:txBody>
        </p:sp>
        <p:cxnSp>
          <p:nvCxnSpPr>
            <p:cNvPr id="62" name="Straight Connector 138">
              <a:extLst>
                <a:ext uri="{FF2B5EF4-FFF2-40B4-BE49-F238E27FC236}">
                  <a16:creationId xmlns:a16="http://schemas.microsoft.com/office/drawing/2014/main" id="{CB99C0E5-6218-4D07-8584-1CF89636E6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05879" y="2909635"/>
              <a:ext cx="466429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139">
              <a:extLst>
                <a:ext uri="{FF2B5EF4-FFF2-40B4-BE49-F238E27FC236}">
                  <a16:creationId xmlns:a16="http://schemas.microsoft.com/office/drawing/2014/main" id="{75A2AFD3-6F87-4962-8C81-247DD4D35A49}"/>
                </a:ext>
              </a:extLst>
            </p:cNvPr>
            <p:cNvCxnSpPr/>
            <p:nvPr/>
          </p:nvCxnSpPr>
          <p:spPr bwMode="auto">
            <a:xfrm>
              <a:off x="2793636" y="2474660"/>
              <a:ext cx="0" cy="865187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120">
              <a:extLst>
                <a:ext uri="{FF2B5EF4-FFF2-40B4-BE49-F238E27FC236}">
                  <a16:creationId xmlns:a16="http://schemas.microsoft.com/office/drawing/2014/main" id="{4A9340F7-EA71-4F03-B3AA-AF8638670145}"/>
                </a:ext>
              </a:extLst>
            </p:cNvPr>
            <p:cNvSpPr/>
            <p:nvPr/>
          </p:nvSpPr>
          <p:spPr bwMode="auto">
            <a:xfrm>
              <a:off x="4234351" y="1439022"/>
              <a:ext cx="1848408" cy="532800"/>
            </a:xfrm>
            <a:prstGeom prst="rect">
              <a:avLst/>
            </a:prstGeom>
            <a:solidFill>
              <a:schemeClr val="accent4"/>
            </a:solidFill>
            <a:ln w="9525" cap="flat" cmpd="thickThin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600"/>
                </a:spcBef>
                <a:defRPr/>
              </a:pPr>
              <a:r>
                <a:rPr lang="it-IT" sz="1100" kern="0">
                  <a:solidFill>
                    <a:prstClr val="white"/>
                  </a:solidFill>
                </a:rPr>
                <a:t>Consiglio di Amministrazione</a:t>
              </a:r>
            </a:p>
          </p:txBody>
        </p:sp>
        <p:cxnSp>
          <p:nvCxnSpPr>
            <p:cNvPr id="65" name="Straight Connector 10">
              <a:extLst>
                <a:ext uri="{FF2B5EF4-FFF2-40B4-BE49-F238E27FC236}">
                  <a16:creationId xmlns:a16="http://schemas.microsoft.com/office/drawing/2014/main" id="{654D585E-E256-4F4F-93C4-727251095163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6141990" y="934144"/>
              <a:ext cx="354785" cy="2321654"/>
            </a:xfrm>
            <a:prstGeom prst="bentConnector2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Rectangle 75">
              <a:extLst>
                <a:ext uri="{FF2B5EF4-FFF2-40B4-BE49-F238E27FC236}">
                  <a16:creationId xmlns:a16="http://schemas.microsoft.com/office/drawing/2014/main" id="{D9FC0CC8-F18E-4CFE-8A8A-6ED5E9EA0AB6}"/>
                </a:ext>
              </a:extLst>
            </p:cNvPr>
            <p:cNvSpPr/>
            <p:nvPr/>
          </p:nvSpPr>
          <p:spPr bwMode="auto">
            <a:xfrm>
              <a:off x="7480209" y="1398133"/>
              <a:ext cx="1620000" cy="540000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4">
                  <a:lumMod val="50000"/>
                </a:schemeClr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600"/>
                </a:spcBef>
                <a:defRPr/>
              </a:pPr>
              <a:r>
                <a:rPr lang="it-IT" sz="1100" kern="0"/>
                <a:t>Collegio sindacale</a:t>
              </a:r>
            </a:p>
          </p:txBody>
        </p:sp>
        <p:sp>
          <p:nvSpPr>
            <p:cNvPr id="67" name="Rectangle 76">
              <a:extLst>
                <a:ext uri="{FF2B5EF4-FFF2-40B4-BE49-F238E27FC236}">
                  <a16:creationId xmlns:a16="http://schemas.microsoft.com/office/drawing/2014/main" id="{939C4069-29C0-459A-9D01-38CD26339A3C}"/>
                </a:ext>
              </a:extLst>
            </p:cNvPr>
            <p:cNvSpPr/>
            <p:nvPr/>
          </p:nvSpPr>
          <p:spPr bwMode="auto">
            <a:xfrm>
              <a:off x="7480209" y="2018287"/>
              <a:ext cx="1620000" cy="540000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4">
                  <a:lumMod val="50000"/>
                </a:schemeClr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1100" kern="0"/>
                <a:t>Comitato </a:t>
              </a:r>
              <a:br>
                <a:rPr lang="it-IT" sz="1100" kern="0"/>
              </a:br>
              <a:r>
                <a:rPr lang="it-IT" sz="1100" kern="0"/>
                <a:t>remunerazioni</a:t>
              </a:r>
            </a:p>
          </p:txBody>
        </p:sp>
        <p:sp>
          <p:nvSpPr>
            <p:cNvPr id="68" name="Rectangle 77">
              <a:extLst>
                <a:ext uri="{FF2B5EF4-FFF2-40B4-BE49-F238E27FC236}">
                  <a16:creationId xmlns:a16="http://schemas.microsoft.com/office/drawing/2014/main" id="{62684F23-A779-42D1-9D90-358AFCB196ED}"/>
                </a:ext>
              </a:extLst>
            </p:cNvPr>
            <p:cNvSpPr/>
            <p:nvPr/>
          </p:nvSpPr>
          <p:spPr bwMode="auto">
            <a:xfrm>
              <a:off x="7480209" y="2663377"/>
              <a:ext cx="1620000" cy="540000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4">
                  <a:lumMod val="50000"/>
                </a:schemeClr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1100" kern="0"/>
                <a:t>Risk Management e Valutazione</a:t>
              </a:r>
            </a:p>
          </p:txBody>
        </p:sp>
        <p:sp>
          <p:nvSpPr>
            <p:cNvPr id="69" name="Rectangle 148">
              <a:extLst>
                <a:ext uri="{FF2B5EF4-FFF2-40B4-BE49-F238E27FC236}">
                  <a16:creationId xmlns:a16="http://schemas.microsoft.com/office/drawing/2014/main" id="{05981EB5-D971-4F47-BC91-4734B173CBBB}"/>
                </a:ext>
              </a:extLst>
            </p:cNvPr>
            <p:cNvSpPr/>
            <p:nvPr/>
          </p:nvSpPr>
          <p:spPr bwMode="auto">
            <a:xfrm>
              <a:off x="1075963" y="5459735"/>
              <a:ext cx="1620000" cy="540000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1100" i="1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Business Development</a:t>
              </a:r>
              <a:endParaRPr lang="it-IT" sz="1200" i="1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cxnSp>
          <p:nvCxnSpPr>
            <p:cNvPr id="70" name="Connettore a gomito 69">
              <a:extLst>
                <a:ext uri="{FF2B5EF4-FFF2-40B4-BE49-F238E27FC236}">
                  <a16:creationId xmlns:a16="http://schemas.microsoft.com/office/drawing/2014/main" id="{88E2AFE0-176E-4434-AE81-46C166A9EA2C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993338" y="5837735"/>
              <a:ext cx="7795380" cy="12700"/>
            </a:xfrm>
            <a:prstGeom prst="bentConnector5">
              <a:avLst>
                <a:gd name="adj1" fmla="val -3226"/>
                <a:gd name="adj2" fmla="val 4776378"/>
                <a:gd name="adj3" fmla="val 106683"/>
              </a:avLst>
            </a:prstGeom>
            <a:ln w="12700">
              <a:solidFill>
                <a:schemeClr val="tx2"/>
              </a:solidFill>
              <a:headEnd type="triangle" w="sm" len="lg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ectangle 79">
              <a:extLst>
                <a:ext uri="{FF2B5EF4-FFF2-40B4-BE49-F238E27FC236}">
                  <a16:creationId xmlns:a16="http://schemas.microsoft.com/office/drawing/2014/main" id="{C9E6D331-919C-4B48-BB68-1F7DA93C0604}"/>
                </a:ext>
              </a:extLst>
            </p:cNvPr>
            <p:cNvSpPr/>
            <p:nvPr/>
          </p:nvSpPr>
          <p:spPr bwMode="auto">
            <a:xfrm>
              <a:off x="7480209" y="3959706"/>
              <a:ext cx="1620000" cy="540000"/>
            </a:xfrm>
            <a:prstGeom prst="rect">
              <a:avLst/>
            </a:prstGeom>
            <a:solidFill>
              <a:schemeClr val="bg1"/>
            </a:solidFill>
            <a:ln w="12700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1100" i="1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Procurement</a:t>
              </a:r>
            </a:p>
            <a:p>
              <a:pPr algn="ctr">
                <a:spcBef>
                  <a:spcPts val="0"/>
                </a:spcBef>
                <a:defRPr/>
              </a:pPr>
              <a:endParaRPr lang="it-IT" sz="800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2" name="Rectangle 79">
              <a:extLst>
                <a:ext uri="{FF2B5EF4-FFF2-40B4-BE49-F238E27FC236}">
                  <a16:creationId xmlns:a16="http://schemas.microsoft.com/office/drawing/2014/main" id="{044EFFFA-3174-481F-9009-5D56580F4C9B}"/>
                </a:ext>
              </a:extLst>
            </p:cNvPr>
            <p:cNvSpPr/>
            <p:nvPr/>
          </p:nvSpPr>
          <p:spPr bwMode="auto">
            <a:xfrm>
              <a:off x="1075963" y="6123602"/>
              <a:ext cx="1620000" cy="540000"/>
            </a:xfrm>
            <a:prstGeom prst="rect">
              <a:avLst/>
            </a:prstGeom>
            <a:solidFill>
              <a:schemeClr val="bg1"/>
            </a:solidFill>
            <a:ln w="12700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endParaRPr lang="it-IT" sz="1100" kern="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ctr">
                <a:spcBef>
                  <a:spcPts val="0"/>
                </a:spcBef>
                <a:defRPr/>
              </a:pPr>
              <a:r>
                <a:rPr lang="it-IT" sz="1100" kern="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Commerciale</a:t>
              </a:r>
            </a:p>
            <a:p>
              <a:pPr algn="ctr">
                <a:spcBef>
                  <a:spcPts val="0"/>
                </a:spcBef>
                <a:defRPr/>
              </a:pPr>
              <a:endParaRPr lang="it-IT" sz="800" kern="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ctr">
                <a:spcBef>
                  <a:spcPts val="0"/>
                </a:spcBef>
                <a:defRPr/>
              </a:pPr>
              <a:r>
                <a:rPr lang="it-IT" sz="800" kern="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 </a:t>
              </a:r>
            </a:p>
          </p:txBody>
        </p:sp>
        <p:sp>
          <p:nvSpPr>
            <p:cNvPr id="73" name="Rectangle 145">
              <a:extLst>
                <a:ext uri="{FF2B5EF4-FFF2-40B4-BE49-F238E27FC236}">
                  <a16:creationId xmlns:a16="http://schemas.microsoft.com/office/drawing/2014/main" id="{9D5C9F94-7D7C-46F0-85DD-0BB93FF68922}"/>
                </a:ext>
              </a:extLst>
            </p:cNvPr>
            <p:cNvSpPr/>
            <p:nvPr/>
          </p:nvSpPr>
          <p:spPr bwMode="auto">
            <a:xfrm>
              <a:off x="4958313" y="5459735"/>
              <a:ext cx="1620000" cy="540000"/>
            </a:xfrm>
            <a:prstGeom prst="rect">
              <a:avLst/>
            </a:prstGeom>
            <a:solidFill>
              <a:schemeClr val="bg1"/>
            </a:solidFill>
            <a:ln w="6350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endParaRPr lang="it-IT" sz="1100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ctr">
                <a:spcBef>
                  <a:spcPts val="0"/>
                </a:spcBef>
                <a:defRPr/>
              </a:pPr>
              <a:endParaRPr lang="it-IT" sz="1100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74" name="Rectangle 171">
              <a:extLst>
                <a:ext uri="{FF2B5EF4-FFF2-40B4-BE49-F238E27FC236}">
                  <a16:creationId xmlns:a16="http://schemas.microsoft.com/office/drawing/2014/main" id="{3DEB6105-CB7A-4633-80C0-EAC981D5840E}"/>
                </a:ext>
              </a:extLst>
            </p:cNvPr>
            <p:cNvSpPr/>
            <p:nvPr/>
          </p:nvSpPr>
          <p:spPr bwMode="auto">
            <a:xfrm>
              <a:off x="5656881" y="6184417"/>
              <a:ext cx="1197650" cy="223200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800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Fondo 1 </a:t>
              </a:r>
            </a:p>
          </p:txBody>
        </p:sp>
        <p:sp>
          <p:nvSpPr>
            <p:cNvPr id="75" name="Rectangle 168">
              <a:extLst>
                <a:ext uri="{FF2B5EF4-FFF2-40B4-BE49-F238E27FC236}">
                  <a16:creationId xmlns:a16="http://schemas.microsoft.com/office/drawing/2014/main" id="{245B23B3-DAC1-42C0-9FE8-46F4CECC486E}"/>
                </a:ext>
              </a:extLst>
            </p:cNvPr>
            <p:cNvSpPr/>
            <p:nvPr/>
          </p:nvSpPr>
          <p:spPr bwMode="auto">
            <a:xfrm>
              <a:off x="5656881" y="6455003"/>
              <a:ext cx="1197650" cy="222287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800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Fondo ….</a:t>
              </a:r>
            </a:p>
          </p:txBody>
        </p:sp>
        <p:cxnSp>
          <p:nvCxnSpPr>
            <p:cNvPr id="77" name="Connettore a gomito 76">
              <a:extLst>
                <a:ext uri="{FF2B5EF4-FFF2-40B4-BE49-F238E27FC236}">
                  <a16:creationId xmlns:a16="http://schemas.microsoft.com/office/drawing/2014/main" id="{2BFA7C62-D467-4ECB-8D66-99DD200EE73A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175875" y="5841536"/>
              <a:ext cx="766492" cy="243603"/>
            </a:xfrm>
            <a:prstGeom prst="bentConnector2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ttore a gomito 77">
              <a:extLst>
                <a:ext uri="{FF2B5EF4-FFF2-40B4-BE49-F238E27FC236}">
                  <a16:creationId xmlns:a16="http://schemas.microsoft.com/office/drawing/2014/main" id="{5E1FAC84-D019-4052-A0A0-A5A100ACBE1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014535" y="5989213"/>
              <a:ext cx="1085982" cy="242032"/>
            </a:xfrm>
            <a:prstGeom prst="bentConnector2">
              <a:avLst/>
            </a:prstGeom>
            <a:ln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Rectangle 145">
              <a:extLst>
                <a:ext uri="{FF2B5EF4-FFF2-40B4-BE49-F238E27FC236}">
                  <a16:creationId xmlns:a16="http://schemas.microsoft.com/office/drawing/2014/main" id="{13EF583E-1667-48D8-94FE-EE5950B20180}"/>
                </a:ext>
              </a:extLst>
            </p:cNvPr>
            <p:cNvSpPr/>
            <p:nvPr/>
          </p:nvSpPr>
          <p:spPr bwMode="auto">
            <a:xfrm>
              <a:off x="5254700" y="5581022"/>
              <a:ext cx="1620000" cy="540000"/>
            </a:xfrm>
            <a:prstGeom prst="rect">
              <a:avLst/>
            </a:prstGeom>
            <a:solidFill>
              <a:schemeClr val="bg1"/>
            </a:solidFill>
            <a:ln w="6350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endParaRPr lang="it-IT" sz="1100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ctr">
                <a:spcBef>
                  <a:spcPts val="0"/>
                </a:spcBef>
                <a:defRPr/>
              </a:pPr>
              <a:r>
                <a:rPr lang="it-IT" sz="1100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Team </a:t>
              </a:r>
            </a:p>
            <a:p>
              <a:pPr algn="ctr">
                <a:spcBef>
                  <a:spcPts val="0"/>
                </a:spcBef>
                <a:defRPr/>
              </a:pPr>
              <a:r>
                <a:rPr lang="it-IT" sz="1100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Fondi Diretti</a:t>
              </a:r>
              <a:endParaRPr lang="it-IT" sz="800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ctr">
                <a:spcBef>
                  <a:spcPts val="0"/>
                </a:spcBef>
                <a:defRPr/>
              </a:pPr>
              <a:endParaRPr lang="it-IT" sz="1100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82" name="Rectangle 148">
              <a:extLst>
                <a:ext uri="{FF2B5EF4-FFF2-40B4-BE49-F238E27FC236}">
                  <a16:creationId xmlns:a16="http://schemas.microsoft.com/office/drawing/2014/main" id="{A70F547B-2E7B-411C-8E02-1CA1D50243ED}"/>
                </a:ext>
              </a:extLst>
            </p:cNvPr>
            <p:cNvSpPr/>
            <p:nvPr/>
          </p:nvSpPr>
          <p:spPr bwMode="auto">
            <a:xfrm>
              <a:off x="7480209" y="5459735"/>
              <a:ext cx="1620000" cy="540000"/>
            </a:xfrm>
            <a:prstGeom prst="rect">
              <a:avLst/>
            </a:prstGeom>
            <a:solidFill>
              <a:schemeClr val="bg1"/>
            </a:solidFill>
            <a:ln w="9525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1100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Valorizzazione &amp; </a:t>
              </a:r>
            </a:p>
            <a:p>
              <a:pPr algn="ctr">
                <a:spcBef>
                  <a:spcPts val="0"/>
                </a:spcBef>
                <a:defRPr/>
              </a:pPr>
              <a:r>
                <a:rPr lang="it-IT" sz="1100" i="1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Asset Management</a:t>
              </a:r>
              <a:endParaRPr lang="it-IT" sz="1200" i="1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cxnSp>
          <p:nvCxnSpPr>
            <p:cNvPr id="83" name="Connettore a gomito 82">
              <a:extLst>
                <a:ext uri="{FF2B5EF4-FFF2-40B4-BE49-F238E27FC236}">
                  <a16:creationId xmlns:a16="http://schemas.microsoft.com/office/drawing/2014/main" id="{EB3C000B-EBDE-4957-96EC-0CD1BC4869D8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97613" y="5922467"/>
              <a:ext cx="725390" cy="242660"/>
            </a:xfrm>
            <a:prstGeom prst="bentConnector3">
              <a:avLst>
                <a:gd name="adj1" fmla="val 100189"/>
              </a:avLst>
            </a:prstGeom>
            <a:ln w="127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Rectangle 144">
              <a:extLst>
                <a:ext uri="{FF2B5EF4-FFF2-40B4-BE49-F238E27FC236}">
                  <a16:creationId xmlns:a16="http://schemas.microsoft.com/office/drawing/2014/main" id="{43DF9571-5305-45DE-8DF6-C53B991E344A}"/>
                </a:ext>
              </a:extLst>
            </p:cNvPr>
            <p:cNvSpPr/>
            <p:nvPr/>
          </p:nvSpPr>
          <p:spPr bwMode="auto">
            <a:xfrm>
              <a:off x="4234351" y="2975643"/>
              <a:ext cx="1846800" cy="532800"/>
            </a:xfrm>
            <a:prstGeom prst="rect">
              <a:avLst/>
            </a:prstGeom>
            <a:solidFill>
              <a:schemeClr val="accent4"/>
            </a:solidFill>
            <a:ln w="9525" cap="flat" cmpd="thickThin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600"/>
                </a:spcBef>
                <a:defRPr/>
              </a:pPr>
              <a:r>
                <a:rPr lang="it-IT" sz="1100" kern="0">
                  <a:solidFill>
                    <a:prstClr val="white"/>
                  </a:solidFill>
                </a:rPr>
                <a:t>Presidente</a:t>
              </a:r>
            </a:p>
          </p:txBody>
        </p:sp>
        <p:sp>
          <p:nvSpPr>
            <p:cNvPr id="85" name="Rectangle 143">
              <a:extLst>
                <a:ext uri="{FF2B5EF4-FFF2-40B4-BE49-F238E27FC236}">
                  <a16:creationId xmlns:a16="http://schemas.microsoft.com/office/drawing/2014/main" id="{94E6CFA8-CFD1-48D5-8C02-AFC7E063C602}"/>
                </a:ext>
              </a:extLst>
            </p:cNvPr>
            <p:cNvSpPr/>
            <p:nvPr/>
          </p:nvSpPr>
          <p:spPr bwMode="auto">
            <a:xfrm>
              <a:off x="4244371" y="3571488"/>
              <a:ext cx="1846800" cy="532800"/>
            </a:xfrm>
            <a:prstGeom prst="rect">
              <a:avLst/>
            </a:prstGeom>
            <a:solidFill>
              <a:schemeClr val="accent5"/>
            </a:solidFill>
            <a:ln w="9525" cap="flat" cmpd="thickThin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300"/>
                </a:spcBef>
                <a:defRPr/>
              </a:pPr>
              <a:r>
                <a:rPr lang="it-IT" sz="1100" kern="0">
                  <a:solidFill>
                    <a:prstClr val="white"/>
                  </a:solidFill>
                </a:rPr>
                <a:t>Amministratore Delegato</a:t>
              </a:r>
            </a:p>
          </p:txBody>
        </p:sp>
        <p:cxnSp>
          <p:nvCxnSpPr>
            <p:cNvPr id="86" name="Straight Connector 138">
              <a:extLst>
                <a:ext uri="{FF2B5EF4-FFF2-40B4-BE49-F238E27FC236}">
                  <a16:creationId xmlns:a16="http://schemas.microsoft.com/office/drawing/2014/main" id="{955EA0F2-9390-4BB5-BC14-8A2FFB87FB40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2807245" y="4571130"/>
              <a:ext cx="4554759" cy="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Rectangle 145">
              <a:extLst>
                <a:ext uri="{FF2B5EF4-FFF2-40B4-BE49-F238E27FC236}">
                  <a16:creationId xmlns:a16="http://schemas.microsoft.com/office/drawing/2014/main" id="{9AFB1589-C5CF-4A5E-82AD-14B7C83FC3CC}"/>
                </a:ext>
              </a:extLst>
            </p:cNvPr>
            <p:cNvSpPr/>
            <p:nvPr/>
          </p:nvSpPr>
          <p:spPr bwMode="auto">
            <a:xfrm>
              <a:off x="2939722" y="5459735"/>
              <a:ext cx="1620000" cy="540000"/>
            </a:xfrm>
            <a:prstGeom prst="rect">
              <a:avLst/>
            </a:prstGeom>
            <a:solidFill>
              <a:schemeClr val="bg1"/>
            </a:solidFill>
            <a:ln w="6350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endParaRPr lang="it-IT" sz="1100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ctr">
                <a:spcBef>
                  <a:spcPts val="0"/>
                </a:spcBef>
                <a:defRPr/>
              </a:pPr>
              <a:r>
                <a:rPr lang="it-IT" sz="1100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Team </a:t>
              </a:r>
            </a:p>
            <a:p>
              <a:pPr algn="ctr">
                <a:spcBef>
                  <a:spcPts val="0"/>
                </a:spcBef>
                <a:defRPr/>
              </a:pPr>
              <a:r>
                <a:rPr lang="it-IT" sz="1100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Fondo dei Fondi</a:t>
              </a:r>
              <a:endParaRPr lang="it-IT" sz="800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ctr">
                <a:spcBef>
                  <a:spcPts val="0"/>
                </a:spcBef>
                <a:defRPr/>
              </a:pPr>
              <a:endParaRPr lang="it-IT" sz="1100" ker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cxnSp>
          <p:nvCxnSpPr>
            <p:cNvPr id="88" name="Straight Connector 138">
              <a:extLst>
                <a:ext uri="{FF2B5EF4-FFF2-40B4-BE49-F238E27FC236}">
                  <a16:creationId xmlns:a16="http://schemas.microsoft.com/office/drawing/2014/main" id="{97E4AA84-E6CF-42DC-B1EC-581BC1C7BE59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3622686" y="5354584"/>
              <a:ext cx="211369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79">
              <a:extLst>
                <a:ext uri="{FF2B5EF4-FFF2-40B4-BE49-F238E27FC236}">
                  <a16:creationId xmlns:a16="http://schemas.microsoft.com/office/drawing/2014/main" id="{5B9BDB37-B97D-43F1-9BA2-2FB2C03279E0}"/>
                </a:ext>
              </a:extLst>
            </p:cNvPr>
            <p:cNvSpPr/>
            <p:nvPr/>
          </p:nvSpPr>
          <p:spPr bwMode="auto">
            <a:xfrm>
              <a:off x="1075963" y="3910028"/>
              <a:ext cx="1620000" cy="540000"/>
            </a:xfrm>
            <a:prstGeom prst="rect">
              <a:avLst/>
            </a:prstGeom>
            <a:solidFill>
              <a:schemeClr val="bg1"/>
            </a:solidFill>
            <a:ln w="12700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endParaRPr lang="it-IT" sz="1100" kern="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ctr">
                <a:spcBef>
                  <a:spcPts val="0"/>
                </a:spcBef>
                <a:defRPr/>
              </a:pPr>
              <a:r>
                <a:rPr lang="it-IT" sz="1100" kern="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Amministrazione, Pianificazione e Controllo</a:t>
              </a:r>
            </a:p>
            <a:p>
              <a:pPr algn="ctr">
                <a:spcBef>
                  <a:spcPts val="0"/>
                </a:spcBef>
                <a:defRPr/>
              </a:pPr>
              <a:endParaRPr lang="it-IT" sz="1100" kern="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55" name="Rectangle 81">
              <a:extLst>
                <a:ext uri="{FF2B5EF4-FFF2-40B4-BE49-F238E27FC236}">
                  <a16:creationId xmlns:a16="http://schemas.microsoft.com/office/drawing/2014/main" id="{2157CE73-C590-4C1D-A464-314307412564}"/>
                </a:ext>
              </a:extLst>
            </p:cNvPr>
            <p:cNvSpPr/>
            <p:nvPr/>
          </p:nvSpPr>
          <p:spPr bwMode="auto">
            <a:xfrm>
              <a:off x="1075963" y="4558027"/>
              <a:ext cx="1620000" cy="540000"/>
            </a:xfrm>
            <a:prstGeom prst="rect">
              <a:avLst/>
            </a:prstGeom>
            <a:solidFill>
              <a:schemeClr val="bg1"/>
            </a:solidFill>
            <a:ln w="12700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1100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Personale, Organizzazione e IT</a:t>
              </a:r>
            </a:p>
          </p:txBody>
        </p:sp>
        <p:sp>
          <p:nvSpPr>
            <p:cNvPr id="54" name="Rectangle 80">
              <a:extLst>
                <a:ext uri="{FF2B5EF4-FFF2-40B4-BE49-F238E27FC236}">
                  <a16:creationId xmlns:a16="http://schemas.microsoft.com/office/drawing/2014/main" id="{AE948AD7-2C3F-40F9-9F0E-228EC439E6DC}"/>
                </a:ext>
              </a:extLst>
            </p:cNvPr>
            <p:cNvSpPr/>
            <p:nvPr/>
          </p:nvSpPr>
          <p:spPr bwMode="auto">
            <a:xfrm>
              <a:off x="7480209" y="4584234"/>
              <a:ext cx="1620000" cy="540000"/>
            </a:xfrm>
            <a:prstGeom prst="rect">
              <a:avLst/>
            </a:prstGeom>
            <a:solidFill>
              <a:schemeClr val="bg1"/>
            </a:solidFill>
            <a:ln w="12700" cap="flat" cmpd="thickThin" algn="ctr">
              <a:solidFill>
                <a:schemeClr val="accent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0"/>
                </a:spcBef>
                <a:defRPr/>
              </a:pPr>
              <a:r>
                <a:rPr lang="it-IT" sz="1000" ker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Legale</a:t>
              </a:r>
            </a:p>
          </p:txBody>
        </p:sp>
        <p:cxnSp>
          <p:nvCxnSpPr>
            <p:cNvPr id="44" name="Straight Connector 139">
              <a:extLst>
                <a:ext uri="{FF2B5EF4-FFF2-40B4-BE49-F238E27FC236}">
                  <a16:creationId xmlns:a16="http://schemas.microsoft.com/office/drawing/2014/main" id="{8A552743-3E2E-43BF-B75E-E1619A10006B}"/>
                </a:ext>
              </a:extLst>
            </p:cNvPr>
            <p:cNvCxnSpPr/>
            <p:nvPr/>
          </p:nvCxnSpPr>
          <p:spPr bwMode="auto">
            <a:xfrm>
              <a:off x="2805879" y="4161165"/>
              <a:ext cx="0" cy="865187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139">
              <a:extLst>
                <a:ext uri="{FF2B5EF4-FFF2-40B4-BE49-F238E27FC236}">
                  <a16:creationId xmlns:a16="http://schemas.microsoft.com/office/drawing/2014/main" id="{9E34B5A3-990E-4E83-A92E-0FDDAEB5A4B3}"/>
                </a:ext>
              </a:extLst>
            </p:cNvPr>
            <p:cNvCxnSpPr/>
            <p:nvPr/>
          </p:nvCxnSpPr>
          <p:spPr bwMode="auto">
            <a:xfrm>
              <a:off x="7362004" y="4161165"/>
              <a:ext cx="0" cy="865187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138">
              <a:extLst>
                <a:ext uri="{FF2B5EF4-FFF2-40B4-BE49-F238E27FC236}">
                  <a16:creationId xmlns:a16="http://schemas.microsoft.com/office/drawing/2014/main" id="{B4DACBB3-E084-4EBC-B07B-AE72E2FE58A2}"/>
                </a:ext>
              </a:extLst>
            </p:cNvPr>
            <p:cNvCxnSpPr>
              <a:cxnSpLocks/>
            </p:cNvCxnSpPr>
            <p:nvPr/>
          </p:nvCxnSpPr>
          <p:spPr bwMode="auto">
            <a:xfrm rot="16200000">
              <a:off x="5704364" y="5376356"/>
              <a:ext cx="211369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7352120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7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7.17570463519000067976E+00&quot;&gt;&lt;m_msothmcolidx val=&quot;0&quot;/&gt;&lt;m_rgb r=&quot;E0&quot; g=&quot;F0&quot; b=&quot;FA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GBUIryXHhkKzizsjpw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dq1igMdqwXMpTz5.hE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BD2.OtE7oxZgOS83U4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venP2DnqK5Hs63Z53j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pOL73U80c63oTD327M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rbzWngaZCcX8dDeGX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lPLfNqUjJ9d8ztJX15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.1D.uihd5jqAhHRVtx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w8O8czL.9GKH2PB4Lv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yJA9UgzO_gG5AYPzOs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YdFymM1fWlIUTT5xrO1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4LwmCpI3GSyA7Yqg29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G.fkUP4Z_5aVHpzGuY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e09lUXiwijjbazDs78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nMgbnAvo4JBczL_bGp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R7Rp3dksRtBKBohGg_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0vTxDZZcPUsn6AMoBK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covb3vMag6pIrCxbaN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A4_Print.potx" id="{00954143-35DE-4320-8C41-9C3BCCD1CF1F}" vid="{17673A00-8B76-46BF-A867-8EB29759E15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2240D16FDD42148A1212C50A3F3C173" ma:contentTypeVersion="2" ma:contentTypeDescription="Creare un nuovo documento." ma:contentTypeScope="" ma:versionID="d3a8d442c5b0f4783f417eeae18b7e37">
  <xsd:schema xmlns:xsd="http://www.w3.org/2001/XMLSchema" xmlns:xs="http://www.w3.org/2001/XMLSchema" xmlns:p="http://schemas.microsoft.com/office/2006/metadata/properties" xmlns:ns2="3f2f7778-5735-4fbf-9b56-4b4be846df1b" targetNamespace="http://schemas.microsoft.com/office/2006/metadata/properties" ma:root="true" ma:fieldsID="33120041c5fa46572437e10af235379e" ns2:_="">
    <xsd:import namespace="3f2f7778-5735-4fbf-9b56-4b4be846df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2f7778-5735-4fbf-9b56-4b4be846df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LongProperties xmlns="http://schemas.microsoft.com/office/2006/metadata/longProperties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51F0C17-0E30-4329-9E35-04970C0396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2f7778-5735-4fbf-9b56-4b4be846df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07E7C1F-1F3D-4749-8F05-6EEC50FEEE43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E7EF84BD-F595-49B1-B4C6-BB5385B7A385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3f2f7778-5735-4fbf-9b56-4b4be846df1b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81DB0B8A-E9B4-4584-AF08-0017B40AC68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A4_Print</Template>
  <TotalTime>167</TotalTime>
  <Words>62</Words>
  <Application>Microsoft Office PowerPoint</Application>
  <PresentationFormat>Personalizzato</PresentationFormat>
  <Paragraphs>32</Paragraphs>
  <Slides>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8" baseType="lpstr">
      <vt:lpstr>Arial</vt:lpstr>
      <vt:lpstr>Calibri</vt:lpstr>
      <vt:lpstr>Franklin Gothic Medium Cond</vt:lpstr>
      <vt:lpstr>Verdana</vt:lpstr>
      <vt:lpstr>Wingdings 2</vt:lpstr>
      <vt:lpstr>Deloitte_US_Onscreen</vt:lpstr>
      <vt:lpstr>Diapositiva think-cell</vt:lpstr>
      <vt:lpstr>Nuovo modello organizzativo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lusconi, Antonella (IT - Milano)</dc:creator>
  <cp:lastModifiedBy>Simonetta Baratta</cp:lastModifiedBy>
  <cp:revision>10</cp:revision>
  <cp:lastPrinted>2020-01-10T17:22:17Z</cp:lastPrinted>
  <dcterms:created xsi:type="dcterms:W3CDTF">2016-05-09T14:20:06Z</dcterms:created>
  <dcterms:modified xsi:type="dcterms:W3CDTF">2023-11-20T17:2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">
    <vt:lpwstr>YM3YSCQRZXQC-267-149</vt:lpwstr>
  </property>
  <property fmtid="{D5CDD505-2E9C-101B-9397-08002B2CF9AE}" pid="3" name="_dlc_DocIdItemGuid">
    <vt:lpwstr>c0bd782e-0075-4961-87b3-b5b930f16817</vt:lpwstr>
  </property>
  <property fmtid="{D5CDD505-2E9C-101B-9397-08002B2CF9AE}" pid="4" name="_dlc_DocIdUrl">
    <vt:lpwstr>https://it.deloitteresources.com/Insdel/com/_layouts/DocIdRedir.aspx?ID=YM3YSCQRZXQC-267-149, YM3YSCQRZXQC-267-149</vt:lpwstr>
  </property>
  <property fmtid="{D5CDD505-2E9C-101B-9397-08002B2CF9AE}" pid="5" name="ContentTypeId">
    <vt:lpwstr>0x01010022240D16FDD42148A1212C50A3F3C173</vt:lpwstr>
  </property>
</Properties>
</file>